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tags/tag30.xml" ContentType="application/vnd.openxmlformats-officedocument.presentationml.tags+xml"/>
  <Override PartName="/ppt/notesSlides/notesSlide1.xml" ContentType="application/vnd.openxmlformats-officedocument.presentationml.notesSlide+xml"/>
  <Override PartName="/ppt/tags/tag31.xml" ContentType="application/vnd.openxmlformats-officedocument.presentationml.tags+xml"/>
  <Override PartName="/ppt/notesSlides/notesSlide2.xml" ContentType="application/vnd.openxmlformats-officedocument.presentationml.notesSlide+xml"/>
  <Override PartName="/ppt/tags/tag32.xml" ContentType="application/vnd.openxmlformats-officedocument.presentationml.tags+xml"/>
  <Override PartName="/ppt/notesSlides/notesSlide3.xml" ContentType="application/vnd.openxmlformats-officedocument.presentationml.notesSlide+xml"/>
  <Override PartName="/ppt/tags/tag33.xml" ContentType="application/vnd.openxmlformats-officedocument.presentationml.tags+xml"/>
  <Override PartName="/ppt/notesSlides/notesSlide4.xml" ContentType="application/vnd.openxmlformats-officedocument.presentationml.notesSlide+xml"/>
  <Override PartName="/ppt/tags/tag34.xml" ContentType="application/vnd.openxmlformats-officedocument.presentationml.tags+xml"/>
  <Override PartName="/ppt/notesSlides/notesSlide5.xml" ContentType="application/vnd.openxmlformats-officedocument.presentationml.notesSlide+xml"/>
  <Override PartName="/ppt/tags/tag35.xml" ContentType="application/vnd.openxmlformats-officedocument.presentationml.tags+xml"/>
  <Override PartName="/ppt/notesSlides/notesSlide6.xml" ContentType="application/vnd.openxmlformats-officedocument.presentationml.notesSlide+xml"/>
  <Override PartName="/ppt/tags/tag36.xml" ContentType="application/vnd.openxmlformats-officedocument.presentationml.tags+xml"/>
  <Override PartName="/ppt/notesSlides/notesSlide7.xml" ContentType="application/vnd.openxmlformats-officedocument.presentationml.notesSlide+xml"/>
  <Override PartName="/ppt/tags/tag37.xml" ContentType="application/vnd.openxmlformats-officedocument.presentationml.tags+xml"/>
  <Override PartName="/ppt/notesSlides/notesSlide8.xml" ContentType="application/vnd.openxmlformats-officedocument.presentationml.notesSlide+xml"/>
  <Override PartName="/ppt/tags/tag38.xml" ContentType="application/vnd.openxmlformats-officedocument.presentationml.tags+xml"/>
  <Override PartName="/ppt/notesSlides/notesSlide9.xml" ContentType="application/vnd.openxmlformats-officedocument.presentationml.notesSlide+xml"/>
  <Override PartName="/ppt/tags/tag39.xml" ContentType="application/vnd.openxmlformats-officedocument.presentationml.tags+xml"/>
  <Override PartName="/ppt/notesSlides/notesSlide10.xml" ContentType="application/vnd.openxmlformats-officedocument.presentationml.notesSlide+xml"/>
  <Override PartName="/ppt/tags/tag40.xml" ContentType="application/vnd.openxmlformats-officedocument.presentationml.tags+xml"/>
  <Override PartName="/ppt/notesSlides/notesSlide11.xml" ContentType="application/vnd.openxmlformats-officedocument.presentationml.notesSlide+xml"/>
  <Override PartName="/ppt/tags/tag41.xml" ContentType="application/vnd.openxmlformats-officedocument.presentationml.tags+xml"/>
  <Override PartName="/ppt/notesSlides/notesSlide12.xml" ContentType="application/vnd.openxmlformats-officedocument.presentationml.notesSlide+xml"/>
  <Override PartName="/ppt/tags/tag42.xml" ContentType="application/vnd.openxmlformats-officedocument.presentationml.tags+xml"/>
  <Override PartName="/ppt/notesSlides/notesSlide13.xml" ContentType="application/vnd.openxmlformats-officedocument.presentationml.notesSlide+xml"/>
  <Override PartName="/ppt/tags/tag43.xml" ContentType="application/vnd.openxmlformats-officedocument.presentationml.tags+xml"/>
  <Override PartName="/ppt/notesSlides/notesSlide14.xml" ContentType="application/vnd.openxmlformats-officedocument.presentationml.notesSlide+xml"/>
  <Override PartName="/ppt/tags/tag44.xml" ContentType="application/vnd.openxmlformats-officedocument.presentationml.tags+xml"/>
  <Override PartName="/ppt/notesSlides/notesSlide15.xml" ContentType="application/vnd.openxmlformats-officedocument.presentationml.notesSlide+xml"/>
  <Override PartName="/ppt/tags/tag45.xml" ContentType="application/vnd.openxmlformats-officedocument.presentationml.tags+xml"/>
  <Override PartName="/ppt/notesSlides/notesSlide16.xml" ContentType="application/vnd.openxmlformats-officedocument.presentationml.notesSlide+xml"/>
  <Override PartName="/ppt/tags/tag46.xml" ContentType="application/vnd.openxmlformats-officedocument.presentationml.tags+xml"/>
  <Override PartName="/ppt/notesSlides/notesSlide17.xml" ContentType="application/vnd.openxmlformats-officedocument.presentationml.notesSlide+xml"/>
  <Override PartName="/ppt/tags/tag47.xml" ContentType="application/vnd.openxmlformats-officedocument.presentationml.tags+xml"/>
  <Override PartName="/ppt/notesSlides/notesSlide18.xml" ContentType="application/vnd.openxmlformats-officedocument.presentationml.notesSlide+xml"/>
  <Override PartName="/ppt/tags/tag48.xml" ContentType="application/vnd.openxmlformats-officedocument.presentationml.tags+xml"/>
  <Override PartName="/ppt/notesSlides/notesSlide19.xml" ContentType="application/vnd.openxmlformats-officedocument.presentationml.notesSlide+xml"/>
  <Override PartName="/ppt/tags/tag49.xml" ContentType="application/vnd.openxmlformats-officedocument.presentationml.tags+xml"/>
  <Override PartName="/ppt/notesSlides/notesSlide20.xml" ContentType="application/vnd.openxmlformats-officedocument.presentationml.notesSlide+xml"/>
  <Override PartName="/ppt/tags/tag50.xml" ContentType="application/vnd.openxmlformats-officedocument.presentationml.tags+xml"/>
  <Override PartName="/ppt/notesSlides/notesSlide21.xml" ContentType="application/vnd.openxmlformats-officedocument.presentationml.notesSlide+xml"/>
  <Override PartName="/ppt/tags/tag51.xml" ContentType="application/vnd.openxmlformats-officedocument.presentationml.tags+xml"/>
  <Override PartName="/ppt/notesSlides/notesSlide22.xml" ContentType="application/vnd.openxmlformats-officedocument.presentationml.notesSlide+xml"/>
  <Override PartName="/ppt/tags/tag52.xml" ContentType="application/vnd.openxmlformats-officedocument.presentationml.tags+xml"/>
  <Override PartName="/ppt/notesSlides/notesSlide23.xml" ContentType="application/vnd.openxmlformats-officedocument.presentationml.notesSlide+xml"/>
  <Override PartName="/ppt/tags/tag53.xml" ContentType="application/vnd.openxmlformats-officedocument.presentationml.tags+xml"/>
  <Override PartName="/ppt/notesSlides/notesSlide24.xml" ContentType="application/vnd.openxmlformats-officedocument.presentationml.notesSlide+xml"/>
  <Override PartName="/ppt/tags/tag54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  <p:sldMasterId id="2147483754" r:id="rId2"/>
    <p:sldMasterId id="2147483759" r:id="rId3"/>
    <p:sldMasterId id="2147483764" r:id="rId4"/>
  </p:sldMasterIdLst>
  <p:notesMasterIdLst>
    <p:notesMasterId r:id="rId33"/>
  </p:notesMasterIdLst>
  <p:handoutMasterIdLst>
    <p:handoutMasterId r:id="rId34"/>
  </p:handoutMasterIdLst>
  <p:sldIdLst>
    <p:sldId id="335" r:id="rId5"/>
    <p:sldId id="407" r:id="rId6"/>
    <p:sldId id="408" r:id="rId7"/>
    <p:sldId id="368" r:id="rId8"/>
    <p:sldId id="382" r:id="rId9"/>
    <p:sldId id="383" r:id="rId10"/>
    <p:sldId id="401" r:id="rId11"/>
    <p:sldId id="402" r:id="rId12"/>
    <p:sldId id="369" r:id="rId13"/>
    <p:sldId id="345" r:id="rId14"/>
    <p:sldId id="367" r:id="rId15"/>
    <p:sldId id="364" r:id="rId16"/>
    <p:sldId id="346" r:id="rId17"/>
    <p:sldId id="400" r:id="rId18"/>
    <p:sldId id="372" r:id="rId19"/>
    <p:sldId id="362" r:id="rId20"/>
    <p:sldId id="395" r:id="rId21"/>
    <p:sldId id="396" r:id="rId22"/>
    <p:sldId id="399" r:id="rId23"/>
    <p:sldId id="404" r:id="rId24"/>
    <p:sldId id="381" r:id="rId25"/>
    <p:sldId id="387" r:id="rId26"/>
    <p:sldId id="388" r:id="rId27"/>
    <p:sldId id="389" r:id="rId28"/>
    <p:sldId id="390" r:id="rId29"/>
    <p:sldId id="397" r:id="rId30"/>
    <p:sldId id="392" r:id="rId31"/>
    <p:sldId id="409" r:id="rId32"/>
  </p:sldIdLst>
  <p:sldSz cx="12192000" cy="6858000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46" userDrawn="1">
          <p15:clr>
            <a:srgbClr val="A4A3A4"/>
          </p15:clr>
        </p15:guide>
        <p15:guide id="2" pos="742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A111915-BE36-4E01-A7E5-04B1672EAD32}" styleName="">
    <a:wholeTbl>
      <a:tcTxStyle>
        <a:font>
          <a:latin typeface="+mn-lt"/>
          <a:ea typeface="+mn-ea"/>
          <a:cs typeface="+mn-cs"/>
        </a:font>
        <a:srgbClr val="000000"/>
      </a:tcTxStyle>
      <a:tcStyle>
        <a:tcBdr>
          <a:lef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wholeTbl>
    <a:band1H>
      <a:tcStyle>
        <a:tcBdr>
          <a:top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bottom>
        </a:tcBdr>
      </a:tcStyle>
    </a:band1H>
    <a:band1V>
      <a:tcStyle>
        <a:tcBdr>
          <a:lef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1V>
    <a:band2V>
      <a:tcStyle>
        <a:tcBdr>
          <a:lef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3172" cap="flat" cmpd="sng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right>
        </a:tcBdr>
      </a:tcStyle>
    </a:band2V>
    <a:lastCol>
      <a:tcTxStyle b="on">
        <a:font>
          <a:latin typeface=""/>
          <a:ea typeface=""/>
          <a:cs typeface=""/>
        </a:font>
      </a:tcTxStyle>
      <a:tcStyle>
        <a:tcBdr/>
      </a:tcStyle>
    </a:lastCol>
    <a:firstCol>
      <a:tcTxStyle b="on">
        <a:font>
          <a:latin typeface=""/>
          <a:ea typeface=""/>
          <a:cs typeface=""/>
        </a:font>
      </a:tcTxStyle>
      <a:tcStyle>
        <a:tcBdr/>
      </a:tcStyle>
    </a:firstCol>
    <a:lastRow>
      <a:tcTxStyle b="on">
        <a:font>
          <a:latin typeface=""/>
          <a:ea typeface=""/>
          <a:cs typeface=""/>
        </a:font>
      </a:tcTxStyle>
      <a:tcStyle>
        <a:tcBdr>
          <a:top>
            <a:ln w="50804" cap="flat" cmpd="dbl" algn="ctr">
              <a:solidFill>
                <a:srgbClr val="4472C4"/>
              </a:solidFill>
              <a:prstDash val="solid"/>
              <a:round/>
              <a:headEnd type="none" w="med" len="med"/>
              <a:tailEnd type="none" w="med" len="med"/>
            </a:ln>
          </a:top>
        </a:tcBdr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4472C4"/>
          </a:solidFill>
        </a:fill>
      </a:tcStyle>
    </a:firstRow>
  </a:tblStyle>
  <a:tblStyle styleId="{7DF18680-E054-41AD-8BC1-D1AEF772440D}" styleName="">
    <a:wholeTbl>
      <a:tcTxStyle>
        <a:font>
          <a:latin typeface="+mn-lt"/>
          <a:ea typeface="+mn-ea"/>
          <a:cs typeface="+mn-cs"/>
        </a:font>
        <a:srgbClr val="000000"/>
      </a:tcTxStyle>
      <a:tcStyle>
        <a:tcBdr>
          <a:lef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left>
          <a:right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right>
          <a:top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  <a:bottom>
            <a:ln w="12701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E9EBF5"/>
          </a:solidFill>
        </a:fill>
      </a:tcStyle>
    </a:wholeTbl>
    <a:band1H>
      <a:tcStyle>
        <a:tcBdr/>
        <a:fill>
          <a:solidFill>
            <a:srgbClr val="CFD5EA"/>
          </a:solidFill>
        </a:fill>
      </a:tcStyle>
    </a:band1H>
    <a:band2H>
      <a:tcStyle>
        <a:tcBdr/>
      </a:tcStyle>
    </a:band2H>
    <a:band1V>
      <a:tcStyle>
        <a:tcBdr/>
        <a:fill>
          <a:solidFill>
            <a:srgbClr val="CFD5EA"/>
          </a:solidFill>
        </a:fill>
      </a:tcStyle>
    </a:band1V>
    <a:band2V>
      <a:tcStyle>
        <a:tcBdr/>
      </a:tcStyle>
    </a:band2V>
    <a:la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4472C4"/>
          </a:solidFill>
        </a:fill>
      </a:tcStyle>
    </a:lastCol>
    <a:firstCol>
      <a:tcTxStyle b="on">
        <a:font>
          <a:latin typeface="+mn-lt"/>
          <a:ea typeface="+mn-ea"/>
          <a:cs typeface="+mn-cs"/>
        </a:font>
        <a:srgbClr val="FFFFFF"/>
      </a:tcTxStyle>
      <a:tcStyle>
        <a:tcBdr/>
        <a:fill>
          <a:solidFill>
            <a:srgbClr val="4472C4"/>
          </a:solidFill>
        </a:fill>
      </a:tcStyle>
    </a:firstCol>
    <a:la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top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top>
        </a:tcBdr>
        <a:fill>
          <a:solidFill>
            <a:srgbClr val="4472C4"/>
          </a:solidFill>
        </a:fill>
      </a:tcStyle>
    </a:lastRow>
    <a:firstRow>
      <a:tcTxStyle b="on">
        <a:font>
          <a:latin typeface="+mn-lt"/>
          <a:ea typeface="+mn-ea"/>
          <a:cs typeface="+mn-cs"/>
        </a:font>
        <a:srgbClr val="FFFFFF"/>
      </a:tcTxStyle>
      <a:tcStyle>
        <a:tcBdr>
          <a:bottom>
            <a:ln w="38103" cap="flat" cmpd="sng" algn="ctr">
              <a:solidFill>
                <a:srgbClr val="FFFFFF"/>
              </a:solidFill>
              <a:prstDash val="solid"/>
              <a:round/>
              <a:headEnd type="none" w="med" len="med"/>
              <a:tailEnd type="none" w="med" len="med"/>
            </a:ln>
          </a:bottom>
        </a:tcBdr>
        <a:fill>
          <a:solidFill>
            <a:srgbClr val="4472C4"/>
          </a:solidFill>
        </a:fill>
      </a:tcStyle>
    </a:firstRow>
  </a:tblStyle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69" autoAdjust="0"/>
    <p:restoredTop sz="94660" autoAdjust="0"/>
  </p:normalViewPr>
  <p:slideViewPr>
    <p:cSldViewPr snapToGrid="0">
      <p:cViewPr varScale="1">
        <p:scale>
          <a:sx n="99" d="100"/>
          <a:sy n="99" d="100"/>
        </p:scale>
        <p:origin x="108" y="204"/>
      </p:cViewPr>
      <p:guideLst>
        <p:guide orient="horz" pos="346"/>
        <p:guide pos="74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21" Type="http://schemas.openxmlformats.org/officeDocument/2006/relationships/slide" Target="slides/slide17.xml"/><Relationship Id="rId34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notesMaster" Target="notesMasters/notesMaster1.xml"/><Relationship Id="rId38" Type="http://schemas.openxmlformats.org/officeDocument/2006/relationships/tableStyles" Target="tableStyle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presProps" Target="presProps.xml"/><Relationship Id="rId8" Type="http://schemas.openxmlformats.org/officeDocument/2006/relationships/slide" Target="slides/slide4.xml"/><Relationship Id="rId3" Type="http://schemas.openxmlformats.org/officeDocument/2006/relationships/slideMaster" Target="slideMasters/slideMaster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 txBox="1">
            <a:spLocks noGrp="1"/>
          </p:cNvSpPr>
          <p:nvPr>
            <p:ph type="hdr" sz="quarter"/>
          </p:nvPr>
        </p:nvSpPr>
        <p:spPr>
          <a:xfrm>
            <a:off x="1" y="1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ru-RU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3" name="Дата 2"/>
          <p:cNvSpPr txBox="1">
            <a:spLocks noGrp="1"/>
          </p:cNvSpPr>
          <p:nvPr>
            <p:ph type="dt" sz="quarter" idx="1"/>
          </p:nvPr>
        </p:nvSpPr>
        <p:spPr>
          <a:xfrm>
            <a:off x="3850439" y="1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957F0D31-D15D-4BDB-B6F3-A3BEE958E7D5}" type="datetime1">
              <a:rPr lang="ru-RU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rPr>
              <a:pPr marL="0" marR="0" lvl="0" indent="0" algn="r" defTabSz="914400" rtl="0" fontAlgn="auto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None/>
                <a:tabLst/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t>04.04.2024</a:t>
            </a:fld>
            <a:endParaRPr lang="ru-RU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4" name="Нижний колонтитул 3"/>
          <p:cNvSpPr txBox="1">
            <a:spLocks noGrp="1"/>
          </p:cNvSpPr>
          <p:nvPr>
            <p:ph type="ftr" sz="quarter" idx="2"/>
          </p:nvPr>
        </p:nvSpPr>
        <p:spPr>
          <a:xfrm>
            <a:off x="1" y="9430086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endParaRPr lang="ru-RU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  <p:sp>
        <p:nvSpPr>
          <p:cNvPr id="5" name="Номер слайда 4"/>
          <p:cNvSpPr txBox="1">
            <a:spLocks noGrp="1"/>
          </p:cNvSpPr>
          <p:nvPr>
            <p:ph type="sldNum" sz="quarter" idx="3"/>
          </p:nvPr>
        </p:nvSpPr>
        <p:spPr>
          <a:xfrm>
            <a:off x="3850439" y="9430086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/>
          <a:p>
            <a: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fld id="{652534E5-B770-4AD0-9072-BACC1070FFE1}" type="slidenum">
              <a:t>‹#›</a:t>
            </a:fld>
            <a:endParaRPr lang="ru-RU" sz="1200" b="0" i="0" u="none" strike="noStrike" kern="1200" cap="none" spc="0" baseline="0">
              <a:solidFill>
                <a:srgbClr val="000000"/>
              </a:solidFill>
              <a:uFillTx/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49221356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 txBox="1">
            <a:spLocks noGrp="1"/>
          </p:cNvSpPr>
          <p:nvPr>
            <p:ph type="hdr" sz="quarter"/>
          </p:nvPr>
        </p:nvSpPr>
        <p:spPr>
          <a:xfrm>
            <a:off x="1" y="1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ru-RU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endParaRPr lang="ru-RU"/>
          </a:p>
        </p:txBody>
      </p:sp>
      <p:sp>
        <p:nvSpPr>
          <p:cNvPr id="3" name="Дата 2"/>
          <p:cNvSpPr txBox="1">
            <a:spLocks noGrp="1"/>
          </p:cNvSpPr>
          <p:nvPr>
            <p:ph type="dt" idx="1"/>
          </p:nvPr>
        </p:nvSpPr>
        <p:spPr>
          <a:xfrm>
            <a:off x="3850439" y="1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ru-RU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05B97FBB-04C2-404D-A530-299009B2060D}" type="datetime1">
              <a:rPr lang="ru-RU"/>
              <a:pPr lvl="0"/>
              <a:t>04.04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1">
            <a:solidFill>
              <a:srgbClr val="000000"/>
            </a:solidFill>
            <a:prstDash val="solid"/>
          </a:ln>
        </p:spPr>
      </p:sp>
      <p:sp>
        <p:nvSpPr>
          <p:cNvPr id="5" name="Заметки 4"/>
          <p:cNvSpPr txBox="1">
            <a:spLocks noGrp="1"/>
          </p:cNvSpPr>
          <p:nvPr>
            <p:ph type="body" sz="quarter" idx="3"/>
          </p:nvPr>
        </p:nvSpPr>
        <p:spPr>
          <a:xfrm>
            <a:off x="679768" y="4777957"/>
            <a:ext cx="5438140" cy="39092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t" anchorCtr="0" compatLnSpc="1">
            <a:no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 txBox="1">
            <a:spLocks noGrp="1"/>
          </p:cNvSpPr>
          <p:nvPr>
            <p:ph type="ftr" sz="quarter" idx="4"/>
          </p:nvPr>
        </p:nvSpPr>
        <p:spPr>
          <a:xfrm>
            <a:off x="1" y="9430086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l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ru-RU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endParaRPr lang="ru-RU"/>
          </a:p>
        </p:txBody>
      </p:sp>
      <p:sp>
        <p:nvSpPr>
          <p:cNvPr id="7" name="Номер слайда 6"/>
          <p:cNvSpPr txBox="1">
            <a:spLocks noGrp="1"/>
          </p:cNvSpPr>
          <p:nvPr>
            <p:ph type="sldNum" sz="quarter" idx="5"/>
          </p:nvPr>
        </p:nvSpPr>
        <p:spPr>
          <a:xfrm>
            <a:off x="3850439" y="9430086"/>
            <a:ext cx="2945659" cy="498139"/>
          </a:xfrm>
          <a:prstGeom prst="rect">
            <a:avLst/>
          </a:prstGeom>
          <a:noFill/>
          <a:ln>
            <a:noFill/>
          </a:ln>
        </p:spPr>
        <p:txBody>
          <a:bodyPr vert="horz" wrap="square" lIns="91440" tIns="45720" rIns="91440" bIns="45720" anchor="b" anchorCtr="0" compatLnSpc="1">
            <a:noAutofit/>
          </a:bodyPr>
          <a:lstStyle>
            <a:lvl1pPr marL="0" marR="0" lvl="0" indent="0" algn="r" defTabSz="914400" rtl="0" fontAlgn="auto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lang="ru-RU" sz="1200" b="0" i="0" u="none" strike="noStrike" kern="1200" cap="none" spc="0" baseline="0">
                <a:solidFill>
                  <a:srgbClr val="000000"/>
                </a:solidFill>
                <a:uFillTx/>
                <a:latin typeface="Calibri"/>
              </a:defRPr>
            </a:lvl1pPr>
          </a:lstStyle>
          <a:p>
            <a:pPr lvl="0"/>
            <a:fld id="{A17E6F01-97FE-4517-A9B0-F8455BB46175}" type="slidenum"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037146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marR="0" lvl="0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ru-RU" sz="1200" b="0" i="0" u="none" strike="noStrike" kern="1200" cap="none" spc="0" baseline="0">
        <a:solidFill>
          <a:srgbClr val="000000"/>
        </a:solidFill>
        <a:uFillTx/>
        <a:latin typeface="Calibri"/>
      </a:defRPr>
    </a:lvl1pPr>
    <a:lvl2pPr marL="457200" marR="0" lvl="1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ru-RU" sz="1200" b="0" i="0" u="none" strike="noStrike" kern="1200" cap="none" spc="0" baseline="0">
        <a:solidFill>
          <a:srgbClr val="000000"/>
        </a:solidFill>
        <a:uFillTx/>
        <a:latin typeface="Calibri"/>
      </a:defRPr>
    </a:lvl2pPr>
    <a:lvl3pPr marL="914400" marR="0" lvl="2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ru-RU" sz="1200" b="0" i="0" u="none" strike="noStrike" kern="1200" cap="none" spc="0" baseline="0">
        <a:solidFill>
          <a:srgbClr val="000000"/>
        </a:solidFill>
        <a:uFillTx/>
        <a:latin typeface="Calibri"/>
      </a:defRPr>
    </a:lvl3pPr>
    <a:lvl4pPr marL="1371600" marR="0" lvl="3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ru-RU" sz="1200" b="0" i="0" u="none" strike="noStrike" kern="1200" cap="none" spc="0" baseline="0">
        <a:solidFill>
          <a:srgbClr val="000000"/>
        </a:solidFill>
        <a:uFillTx/>
        <a:latin typeface="Calibri"/>
      </a:defRPr>
    </a:lvl4pPr>
    <a:lvl5pPr marL="1828800" marR="0" lvl="4" indent="0" algn="l" defTabSz="914400" rtl="0" fontAlgn="auto" hangingPunct="1">
      <a:lnSpc>
        <a:spcPct val="100000"/>
      </a:lnSpc>
      <a:spcBef>
        <a:spcPts val="0"/>
      </a:spcBef>
      <a:spcAft>
        <a:spcPts val="0"/>
      </a:spcAft>
      <a:buNone/>
      <a:tabLst/>
      <a:defRPr lang="ru-RU" sz="1200" b="0" i="0" u="none" strike="noStrike" kern="1200" cap="none" spc="0" baseline="0">
        <a:solidFill>
          <a:srgbClr val="000000"/>
        </a:solidFill>
        <a:uFillTx/>
        <a:latin typeface="Calibri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502819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704906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6204537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9134140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2811215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9298111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6322142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5670716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6534235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098068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2421011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172958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31497351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587020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161734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982198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372011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2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5698084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2434705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696803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4452500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7603972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1102466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0312695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lvl="0"/>
            <a:fld id="{A17E6F01-97FE-4517-A9B0-F8455BB46175}" type="slidenum">
              <a:rPr lang="ru-RU" smtClean="0"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70256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1.xml"/><Relationship Id="rId7" Type="http://schemas.openxmlformats.org/officeDocument/2006/relationships/tags" Target="../tags/tag15.xml"/><Relationship Id="rId12" Type="http://schemas.openxmlformats.org/officeDocument/2006/relationships/image" Target="../media/image4.jpeg"/><Relationship Id="rId2" Type="http://schemas.openxmlformats.org/officeDocument/2006/relationships/tags" Target="../tags/tag10.xml"/><Relationship Id="rId1" Type="http://schemas.openxmlformats.org/officeDocument/2006/relationships/vmlDrawing" Target="../drawings/vmlDrawing2.vml"/><Relationship Id="rId6" Type="http://schemas.openxmlformats.org/officeDocument/2006/relationships/tags" Target="../tags/tag14.xml"/><Relationship Id="rId11" Type="http://schemas.openxmlformats.org/officeDocument/2006/relationships/image" Target="../media/image3.png"/><Relationship Id="rId5" Type="http://schemas.openxmlformats.org/officeDocument/2006/relationships/tags" Target="../tags/tag13.xml"/><Relationship Id="rId10" Type="http://schemas.openxmlformats.org/officeDocument/2006/relationships/image" Target="../media/image2.emf"/><Relationship Id="rId4" Type="http://schemas.openxmlformats.org/officeDocument/2006/relationships/tags" Target="../tags/tag12.xml"/><Relationship Id="rId9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2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1192" hidden="1"/>
          <p:cNvGraphicFramePr>
            <a:graphicFrameLocks/>
          </p:cNvGraphicFramePr>
          <p:nvPr userDrawn="1"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1" name="think-cell Slide" r:id="rId9" imgW="0" imgH="0" progId="TCLayout.ActiveDocument.1">
                  <p:embed/>
                </p:oleObj>
              </mc:Choice>
              <mc:Fallback>
                <p:oleObj name="think-cell Slide" r:id="rId9" imgW="0" imgH="0" progId="TCLayout.ActiveDocument.1">
                  <p:embed/>
                  <p:pic>
                    <p:nvPicPr>
                      <p:cNvPr id="4" name="Rectangle 1192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3591728" y="349866"/>
            <a:ext cx="1011495" cy="141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918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485750" y="37255"/>
            <a:ext cx="401720" cy="12472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marL="0" marR="0" lvl="0" indent="0" algn="r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591727" y="508601"/>
            <a:ext cx="3072957" cy="141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Last Modified 13.08.2010 11:06:11 Russian Standard Time</a:t>
            </a:r>
            <a:endParaRPr kumimoji="0" lang="ru-RU" sz="91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3591728" y="668956"/>
            <a:ext cx="2745945" cy="1412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1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nted 09.08.2010 17:17:07 Russian Standard Time</a:t>
            </a:r>
            <a:endParaRPr kumimoji="0" lang="ru-RU" sz="918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grpSp>
        <p:nvGrpSpPr>
          <p:cNvPr id="9" name="McK Title Elements"/>
          <p:cNvGrpSpPr>
            <a:grpSpLocks/>
          </p:cNvGrpSpPr>
          <p:nvPr userDrawn="1"/>
        </p:nvGrpSpPr>
        <p:grpSpPr bwMode="auto">
          <a:xfrm>
            <a:off x="1" y="1"/>
            <a:ext cx="10306505" cy="6859620"/>
            <a:chOff x="0" y="0"/>
            <a:chExt cx="4772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 userDrawn="1"/>
          </p:nvSpPr>
          <p:spPr bwMode="auto">
            <a:xfrm>
              <a:off x="1663" y="3104"/>
              <a:ext cx="3109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 userDrawn="1"/>
          </p:nvSpPr>
          <p:spPr bwMode="auto">
            <a:xfrm>
              <a:off x="1663" y="3275"/>
              <a:ext cx="3109" cy="138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 userDrawn="1"/>
          </p:nvSpPr>
          <p:spPr bwMode="auto">
            <a:xfrm>
              <a:off x="1663" y="3713"/>
              <a:ext cx="2493" cy="15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none" lIns="0" tIns="0" rIns="0" bIns="0" anchor="b">
              <a:spAutoFit/>
            </a:bodyPr>
            <a:lstStyle/>
            <a:p>
              <a:pPr marL="0" marR="0" lvl="0" indent="0" algn="l" defTabSz="8212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КОНФИДЕНЦИАЛЬНАЯ ИНФОРМАЦИЯ, СОБСТВЕННОСТЬ McKINSEY &amp; COMPANY</a:t>
              </a:r>
            </a:p>
            <a:p>
              <a:pPr marL="0" marR="0" lvl="0" indent="0" algn="l" defTabSz="821202" rtl="0" eaLnBrk="0" fontAlgn="base" latinLnBrk="0" hangingPunct="0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 userDrawn="1"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 userDrawn="1"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24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80" y="6574545"/>
            <a:ext cx="2226740" cy="1959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Picture 1197"/>
          <p:cNvPicPr>
            <a:picLocks noChangeAspect="1" noChangeArrowheads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2192000" cy="43830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1200" descr="logo_nomos_new___"/>
          <p:cNvPicPr>
            <a:picLocks noChangeAspect="1" noChangeArrowheads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65928" y="5850518"/>
            <a:ext cx="2742930" cy="863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486" name="Rectangle 1198"/>
          <p:cNvSpPr>
            <a:spLocks noGrp="1" noChangeArrowheads="1"/>
          </p:cNvSpPr>
          <p:nvPr>
            <p:ph type="ctrTitle"/>
          </p:nvPr>
        </p:nvSpPr>
        <p:spPr>
          <a:xfrm>
            <a:off x="347726" y="4450084"/>
            <a:ext cx="10574319" cy="594778"/>
          </a:xfrm>
        </p:spPr>
        <p:txBody>
          <a:bodyPr lIns="91440" tIns="45720" rIns="91440" bIns="45720" anchor="ctr"/>
          <a:lstStyle>
            <a:lvl1pPr>
              <a:defRPr sz="3265" b="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3487" name="Rectangle 1199"/>
          <p:cNvSpPr>
            <a:spLocks noGrp="1" noChangeArrowheads="1"/>
          </p:cNvSpPr>
          <p:nvPr>
            <p:ph type="subTitle" idx="1"/>
          </p:nvPr>
        </p:nvSpPr>
        <p:spPr>
          <a:xfrm>
            <a:off x="341247" y="5090859"/>
            <a:ext cx="6563594" cy="832549"/>
          </a:xfrm>
        </p:spPr>
        <p:txBody>
          <a:bodyPr lIns="91440" tIns="45720" rIns="91440" bIns="45720"/>
          <a:lstStyle>
            <a:lvl1pPr>
              <a:defRPr sz="1428"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5607044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BDA376F1-134A-4617-A9C5-E5CF21810640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1896053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1589055" y="234864"/>
            <a:ext cx="298415" cy="300300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161985" y="234864"/>
            <a:ext cx="8587314" cy="300300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BEF0AD75-A294-4A6B-88E4-E23D17B4F3B4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18344000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AndTwoObj" preserve="1">
  <p:cSld name="Title, Content, and 2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quarter" idx="2"/>
          </p:nvPr>
        </p:nvSpPr>
        <p:spPr>
          <a:xfrm>
            <a:off x="5006387" y="1990667"/>
            <a:ext cx="2822843" cy="545854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Content Placeholder 4"/>
          <p:cNvSpPr>
            <a:spLocks noGrp="1"/>
          </p:cNvSpPr>
          <p:nvPr>
            <p:ph sz="quarter" idx="3"/>
          </p:nvPr>
        </p:nvSpPr>
        <p:spPr>
          <a:xfrm>
            <a:off x="5006387" y="2692016"/>
            <a:ext cx="2822843" cy="54585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C1025407-92C0-487F-B339-6099F46D7C4E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4842071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1976207" y="1990667"/>
            <a:ext cx="5853024" cy="124720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777768EC-49C1-4F8D-844D-CC4B07933856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86715093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976207" y="1990667"/>
            <a:ext cx="5853024" cy="1247204"/>
          </a:xfrm>
        </p:spPr>
        <p:txBody>
          <a:bodyPr/>
          <a:lstStyle/>
          <a:p>
            <a:pPr lvl="0"/>
            <a:endParaRPr lang="en-US" noProof="0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E9CFAE6-32C0-489D-AE21-3BFB3834AC9B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8154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fourObj" preserve="1">
  <p:cSld name="Заголовок и 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sz="quarter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quarter" idx="1"/>
          </p:nvPr>
        </p:nvSpPr>
        <p:spPr>
          <a:xfrm>
            <a:off x="1976206" y="1990667"/>
            <a:ext cx="2822841" cy="54585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5006387" y="1990667"/>
            <a:ext cx="2822843" cy="54585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Объект 4"/>
          <p:cNvSpPr>
            <a:spLocks noGrp="1"/>
          </p:cNvSpPr>
          <p:nvPr>
            <p:ph sz="quarter" idx="3"/>
          </p:nvPr>
        </p:nvSpPr>
        <p:spPr>
          <a:xfrm>
            <a:off x="1976206" y="2692016"/>
            <a:ext cx="2822841" cy="54585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5006387" y="2692016"/>
            <a:ext cx="2822843" cy="54585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0"/>
          </p:nvPr>
        </p:nvSpPr>
        <p:spPr>
          <a:xfrm>
            <a:off x="11768682" y="6566446"/>
            <a:ext cx="265653" cy="155496"/>
          </a:xfrm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D372C521-AD54-4F59-AE94-873150ED8F37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00560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1985" y="234864"/>
            <a:ext cx="11725485" cy="29841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5006387" y="1990667"/>
            <a:ext cx="2822843" cy="12472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11768682" y="6566446"/>
            <a:ext cx="265653" cy="155496"/>
          </a:xfrm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9057560F-AEBC-43EB-B765-D8B920256878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8011390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Only" preserve="1">
  <p:cSld name="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/>
          <p:cNvSpPr>
            <a:spLocks noGrp="1"/>
          </p:cNvSpPr>
          <p:nvPr>
            <p:ph/>
          </p:nvPr>
        </p:nvSpPr>
        <p:spPr>
          <a:xfrm>
            <a:off x="161985" y="234864"/>
            <a:ext cx="11725485" cy="300300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768682" y="6566446"/>
            <a:ext cx="265653" cy="155496"/>
          </a:xfrm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9EB37777-C7CE-40FD-89AA-C517FE77839B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8174517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108" y="0"/>
            <a:ext cx="1028789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2239" y="2119784"/>
            <a:ext cx="10515600" cy="1325563"/>
          </a:xfrm>
        </p:spPr>
        <p:txBody>
          <a:bodyPr/>
          <a:lstStyle>
            <a:lvl1pPr>
              <a:defRPr>
                <a:latin typeface="Formular" panose="02000000000000000000" pitchFamily="2" charset="-52"/>
              </a:defRPr>
            </a:lvl1pPr>
          </a:lstStyle>
          <a:p>
            <a:r>
              <a:rPr lang="en-US" dirty="0" smtClean="0">
                <a:latin typeface="Formular" panose="02000000000000000000" pitchFamily="2" charset="-52"/>
              </a:rPr>
              <a:t>TITLE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92239" y="3567584"/>
            <a:ext cx="10515600" cy="692150"/>
          </a:xfrm>
        </p:spPr>
        <p:txBody>
          <a:bodyPr/>
          <a:lstStyle>
            <a:lvl1pPr marL="0" indent="0">
              <a:buNone/>
              <a:defRPr>
                <a:latin typeface="Formular" panose="02000000000000000000" pitchFamily="2" charset="-52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39" y="230468"/>
            <a:ext cx="2265875" cy="50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86715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108" y="0"/>
            <a:ext cx="1028789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2239" y="2119784"/>
            <a:ext cx="10515600" cy="1325563"/>
          </a:xfrm>
        </p:spPr>
        <p:txBody>
          <a:bodyPr/>
          <a:lstStyle>
            <a:lvl1pPr>
              <a:defRPr>
                <a:latin typeface="Formular" panose="02000000000000000000" pitchFamily="2" charset="-52"/>
              </a:defRPr>
            </a:lvl1pPr>
          </a:lstStyle>
          <a:p>
            <a:r>
              <a:rPr lang="en-US" dirty="0" smtClean="0">
                <a:latin typeface="Formular" panose="02000000000000000000" pitchFamily="2" charset="-52"/>
              </a:rPr>
              <a:t>TITLE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92239" y="3567584"/>
            <a:ext cx="10515600" cy="692150"/>
          </a:xfrm>
        </p:spPr>
        <p:txBody>
          <a:bodyPr/>
          <a:lstStyle>
            <a:lvl1pPr marL="0" indent="0">
              <a:buNone/>
              <a:defRPr>
                <a:latin typeface="Formular" panose="02000000000000000000" pitchFamily="2" charset="-52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39" y="230468"/>
            <a:ext cx="2265875" cy="50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0032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28C2D485-65F5-46F7-949E-3C4845EBA54A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5354243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9CD7F3-42D7-4CC7-B0F9-7B07BD8D4F41}" type="slidenum"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6023860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108" y="0"/>
            <a:ext cx="1028789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2239" y="2119784"/>
            <a:ext cx="10515600" cy="1325563"/>
          </a:xfrm>
        </p:spPr>
        <p:txBody>
          <a:bodyPr/>
          <a:lstStyle>
            <a:lvl1pPr>
              <a:defRPr>
                <a:latin typeface="Formular" panose="02000000000000000000" pitchFamily="2" charset="-52"/>
              </a:defRPr>
            </a:lvl1pPr>
          </a:lstStyle>
          <a:p>
            <a:r>
              <a:rPr lang="en-US" dirty="0" smtClean="0">
                <a:latin typeface="Formular" panose="02000000000000000000" pitchFamily="2" charset="-52"/>
              </a:rPr>
              <a:t>TITLE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92239" y="3567584"/>
            <a:ext cx="10515600" cy="692150"/>
          </a:xfrm>
        </p:spPr>
        <p:txBody>
          <a:bodyPr/>
          <a:lstStyle>
            <a:lvl1pPr marL="0" indent="0">
              <a:buNone/>
              <a:defRPr>
                <a:latin typeface="Formular" panose="02000000000000000000" pitchFamily="2" charset="-52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39" y="230468"/>
            <a:ext cx="2265875" cy="50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35334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B_logo_eng_white.png" descr="RB_logo_eng_white.png">
            <a:extLst>
              <a:ext uri="{FF2B5EF4-FFF2-40B4-BE49-F238E27FC236}">
                <a16:creationId xmlns:a16="http://schemas.microsoft.com/office/drawing/2014/main" id="{F31D4280-742F-C916-454F-6302BBA12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866" r="74422" b="28599"/>
          <a:stretch/>
        </p:blipFill>
        <p:spPr>
          <a:xfrm>
            <a:off x="11536045" y="169590"/>
            <a:ext cx="473075" cy="451031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4461" y="169590"/>
            <a:ext cx="508147" cy="50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8851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9CD7F3-42D7-4CC7-B0F9-7B07BD8D4F41}" type="slidenum"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0853007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28C2D485-65F5-46F7-949E-3C4845EBA54A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145587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04108" y="0"/>
            <a:ext cx="10287892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192239" y="2119784"/>
            <a:ext cx="10515600" cy="1325563"/>
          </a:xfrm>
        </p:spPr>
        <p:txBody>
          <a:bodyPr/>
          <a:lstStyle>
            <a:lvl1pPr>
              <a:defRPr>
                <a:latin typeface="Formular" panose="02000000000000000000" pitchFamily="2" charset="-52"/>
              </a:defRPr>
            </a:lvl1pPr>
          </a:lstStyle>
          <a:p>
            <a:r>
              <a:rPr lang="en-US" dirty="0" smtClean="0">
                <a:latin typeface="Formular" panose="02000000000000000000" pitchFamily="2" charset="-52"/>
              </a:rPr>
              <a:t>TITLE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/>
          </p:nvPr>
        </p:nvSpPr>
        <p:spPr>
          <a:xfrm>
            <a:off x="192239" y="3567584"/>
            <a:ext cx="10515600" cy="692150"/>
          </a:xfrm>
        </p:spPr>
        <p:txBody>
          <a:bodyPr/>
          <a:lstStyle>
            <a:lvl1pPr marL="0" indent="0">
              <a:buNone/>
              <a:defRPr>
                <a:latin typeface="Formular" panose="02000000000000000000" pitchFamily="2" charset="-52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239" y="230468"/>
            <a:ext cx="2265875" cy="5062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8977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Пустой слайд">
    <p:bg>
      <p:bgRef idx="1003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RB_logo_eng_white.png" descr="RB_logo_eng_white.png">
            <a:extLst>
              <a:ext uri="{FF2B5EF4-FFF2-40B4-BE49-F238E27FC236}">
                <a16:creationId xmlns:a16="http://schemas.microsoft.com/office/drawing/2014/main" id="{F31D4280-742F-C916-454F-6302BBA1203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/>
          <a:srcRect t="2866" r="74422" b="28599"/>
          <a:stretch/>
        </p:blipFill>
        <p:spPr>
          <a:xfrm>
            <a:off x="11536045" y="169590"/>
            <a:ext cx="473075" cy="451031"/>
          </a:xfrm>
          <a:prstGeom prst="rect">
            <a:avLst/>
          </a:prstGeom>
          <a:ln w="12700">
            <a:miter lim="400000"/>
          </a:ln>
        </p:spPr>
      </p:pic>
      <p:pic>
        <p:nvPicPr>
          <p:cNvPr id="22" name="Рисунок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144461" y="169590"/>
            <a:ext cx="508147" cy="508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813071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p14:dur="1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fontAlgn="base">
              <a:spcBef>
                <a:spcPct val="0"/>
              </a:spcBef>
              <a:spcAft>
                <a:spcPct val="0"/>
              </a:spcAft>
              <a:defRPr b="1">
                <a:latin typeface="Arial" charset="0"/>
              </a:defRPr>
            </a:lvl1pPr>
          </a:lstStyle>
          <a:p>
            <a:pPr marL="0" marR="0" lvl="0" indent="0" algn="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C49CD7F3-42D7-4CC7-B0F9-7B07BD8D4F41}" type="slidenum">
              <a:rPr kumimoji="0" lang="ru-RU" sz="1200" b="1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62882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3266" y="4407327"/>
            <a:ext cx="10362659" cy="627992"/>
          </a:xfrm>
        </p:spPr>
        <p:txBody>
          <a:bodyPr/>
          <a:lstStyle>
            <a:lvl1pPr algn="l">
              <a:defRPr sz="4081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3266" y="2907443"/>
            <a:ext cx="10362659" cy="1499884"/>
          </a:xfrm>
        </p:spPr>
        <p:txBody>
          <a:bodyPr anchor="b"/>
          <a:lstStyle>
            <a:lvl1pPr marL="0" indent="0">
              <a:buNone/>
              <a:defRPr sz="2041"/>
            </a:lvl1pPr>
            <a:lvl2pPr marL="466481" indent="0">
              <a:buNone/>
              <a:defRPr sz="1837"/>
            </a:lvl2pPr>
            <a:lvl3pPr marL="932962" indent="0">
              <a:buNone/>
              <a:defRPr sz="1632"/>
            </a:lvl3pPr>
            <a:lvl4pPr marL="1399443" indent="0">
              <a:buNone/>
              <a:defRPr sz="1428"/>
            </a:lvl4pPr>
            <a:lvl5pPr marL="1865925" indent="0">
              <a:buNone/>
              <a:defRPr sz="1428"/>
            </a:lvl5pPr>
            <a:lvl6pPr marL="2332406" indent="0">
              <a:buNone/>
              <a:defRPr sz="1428"/>
            </a:lvl6pPr>
            <a:lvl7pPr marL="2798887" indent="0">
              <a:buNone/>
              <a:defRPr sz="1428"/>
            </a:lvl7pPr>
            <a:lvl8pPr marL="3265368" indent="0">
              <a:buNone/>
              <a:defRPr sz="1428"/>
            </a:lvl8pPr>
            <a:lvl9pPr marL="3731849" indent="0">
              <a:buNone/>
              <a:defRPr sz="142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EB329DF8-8A04-4415-9620-26D09EDB6337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7826003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1976206" y="1990667"/>
            <a:ext cx="2822841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006387" y="1990667"/>
            <a:ext cx="2822843" cy="1247204"/>
          </a:xfrm>
        </p:spPr>
        <p:txBody>
          <a:bodyPr/>
          <a:lstStyle>
            <a:lvl1pPr>
              <a:defRPr sz="2857"/>
            </a:lvl1pPr>
            <a:lvl2pPr>
              <a:defRPr sz="2449"/>
            </a:lvl2pPr>
            <a:lvl3pPr>
              <a:defRPr sz="2041"/>
            </a:lvl3pPr>
            <a:lvl4pPr>
              <a:defRPr sz="1837"/>
            </a:lvl4pPr>
            <a:lvl5pPr>
              <a:defRPr sz="1837"/>
            </a:lvl5pPr>
            <a:lvl6pPr>
              <a:defRPr sz="1837"/>
            </a:lvl6pPr>
            <a:lvl7pPr>
              <a:defRPr sz="1837"/>
            </a:lvl7pPr>
            <a:lvl8pPr>
              <a:defRPr sz="1837"/>
            </a:lvl8pPr>
            <a:lvl9pPr>
              <a:defRPr sz="1837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75D54D31-662F-414D-BEC6-B3B311EC47C7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11264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275356"/>
            <a:ext cx="10973880" cy="298415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060" y="1535519"/>
            <a:ext cx="538651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060" y="2175318"/>
            <a:ext cx="538651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4271" y="1535519"/>
            <a:ext cx="5388670" cy="639800"/>
          </a:xfrm>
        </p:spPr>
        <p:txBody>
          <a:bodyPr anchor="b"/>
          <a:lstStyle>
            <a:lvl1pPr marL="0" indent="0">
              <a:buNone/>
              <a:defRPr sz="2449" b="1"/>
            </a:lvl1pPr>
            <a:lvl2pPr marL="466481" indent="0">
              <a:buNone/>
              <a:defRPr sz="2041" b="1"/>
            </a:lvl2pPr>
            <a:lvl3pPr marL="932962" indent="0">
              <a:buNone/>
              <a:defRPr sz="1837" b="1"/>
            </a:lvl3pPr>
            <a:lvl4pPr marL="1399443" indent="0">
              <a:buNone/>
              <a:defRPr sz="1632" b="1"/>
            </a:lvl4pPr>
            <a:lvl5pPr marL="1865925" indent="0">
              <a:buNone/>
              <a:defRPr sz="1632" b="1"/>
            </a:lvl5pPr>
            <a:lvl6pPr marL="2332406" indent="0">
              <a:buNone/>
              <a:defRPr sz="1632" b="1"/>
            </a:lvl6pPr>
            <a:lvl7pPr marL="2798887" indent="0">
              <a:buNone/>
              <a:defRPr sz="1632" b="1"/>
            </a:lvl7pPr>
            <a:lvl8pPr marL="3265368" indent="0">
              <a:buNone/>
              <a:defRPr sz="1632" b="1"/>
            </a:lvl8pPr>
            <a:lvl9pPr marL="3731849" indent="0">
              <a:buNone/>
              <a:defRPr sz="1632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4271" y="2175318"/>
            <a:ext cx="5388670" cy="3950557"/>
          </a:xfrm>
        </p:spPr>
        <p:txBody>
          <a:bodyPr/>
          <a:lstStyle>
            <a:lvl1pPr>
              <a:defRPr sz="2449"/>
            </a:lvl1pPr>
            <a:lvl2pPr>
              <a:defRPr sz="2041"/>
            </a:lvl2pPr>
            <a:lvl3pPr>
              <a:defRPr sz="1837"/>
            </a:lvl3pPr>
            <a:lvl4pPr>
              <a:defRPr sz="1632"/>
            </a:lvl4pPr>
            <a:lvl5pPr>
              <a:defRPr sz="1632"/>
            </a:lvl5pPr>
            <a:lvl6pPr>
              <a:defRPr sz="1632"/>
            </a:lvl6pPr>
            <a:lvl7pPr>
              <a:defRPr sz="1632"/>
            </a:lvl7pPr>
            <a:lvl8pPr>
              <a:defRPr sz="1632"/>
            </a:lvl8pPr>
            <a:lvl9pPr>
              <a:defRPr sz="1632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7CE92A70-3B22-487C-AFB4-4B8445D2B54B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7883782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7F82EEF5-4ABC-4F0B-B1DD-D134A36C7C75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887182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BD244106-EF01-4C3B-B77D-60DB6E511BCD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7162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060" y="1121035"/>
            <a:ext cx="4010726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651" y="273738"/>
            <a:ext cx="6816289" cy="5852138"/>
          </a:xfrm>
        </p:spPr>
        <p:txBody>
          <a:bodyPr/>
          <a:lstStyle>
            <a:lvl1pPr>
              <a:defRPr sz="3265"/>
            </a:lvl1pPr>
            <a:lvl2pPr>
              <a:defRPr sz="2857"/>
            </a:lvl2pPr>
            <a:lvl3pPr>
              <a:defRPr sz="2449"/>
            </a:lvl3pPr>
            <a:lvl4pPr>
              <a:defRPr sz="2041"/>
            </a:lvl4pPr>
            <a:lvl5pPr>
              <a:defRPr sz="2041"/>
            </a:lvl5pPr>
            <a:lvl6pPr>
              <a:defRPr sz="2041"/>
            </a:lvl6pPr>
            <a:lvl7pPr>
              <a:defRPr sz="2041"/>
            </a:lvl7pPr>
            <a:lvl8pPr>
              <a:defRPr sz="2041"/>
            </a:lvl8pPr>
            <a:lvl9pPr>
              <a:defRPr sz="2041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060" y="1435094"/>
            <a:ext cx="4010726" cy="4690781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8E5C722E-E00C-4736-861D-1DFFF749C059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402084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8726" y="5053775"/>
            <a:ext cx="7315200" cy="314060"/>
          </a:xfrm>
        </p:spPr>
        <p:txBody>
          <a:bodyPr anchor="b"/>
          <a:lstStyle>
            <a:lvl1pPr algn="l">
              <a:defRPr sz="2041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8726" y="612264"/>
            <a:ext cx="7315200" cy="4115772"/>
          </a:xfrm>
        </p:spPr>
        <p:txBody>
          <a:bodyPr/>
          <a:lstStyle>
            <a:lvl1pPr marL="0" indent="0">
              <a:buNone/>
              <a:defRPr sz="3265"/>
            </a:lvl1pPr>
            <a:lvl2pPr marL="466481" indent="0">
              <a:buNone/>
              <a:defRPr sz="2857"/>
            </a:lvl2pPr>
            <a:lvl3pPr marL="932962" indent="0">
              <a:buNone/>
              <a:defRPr sz="2449"/>
            </a:lvl3pPr>
            <a:lvl4pPr marL="1399443" indent="0">
              <a:buNone/>
              <a:defRPr sz="2041"/>
            </a:lvl4pPr>
            <a:lvl5pPr marL="1865925" indent="0">
              <a:buNone/>
              <a:defRPr sz="2041"/>
            </a:lvl5pPr>
            <a:lvl6pPr marL="2332406" indent="0">
              <a:buNone/>
              <a:defRPr sz="2041"/>
            </a:lvl6pPr>
            <a:lvl7pPr marL="2798887" indent="0">
              <a:buNone/>
              <a:defRPr sz="2041"/>
            </a:lvl7pPr>
            <a:lvl8pPr marL="3265368" indent="0">
              <a:buNone/>
              <a:defRPr sz="2041"/>
            </a:lvl8pPr>
            <a:lvl9pPr marL="3731849" indent="0">
              <a:buNone/>
              <a:defRPr sz="2041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8726" y="5367835"/>
            <a:ext cx="7315200" cy="805014"/>
          </a:xfrm>
        </p:spPr>
        <p:txBody>
          <a:bodyPr/>
          <a:lstStyle>
            <a:lvl1pPr marL="0" indent="0">
              <a:buNone/>
              <a:defRPr sz="1428"/>
            </a:lvl1pPr>
            <a:lvl2pPr marL="466481" indent="0">
              <a:buNone/>
              <a:defRPr sz="1224"/>
            </a:lvl2pPr>
            <a:lvl3pPr marL="932962" indent="0">
              <a:buNone/>
              <a:defRPr sz="1020"/>
            </a:lvl3pPr>
            <a:lvl4pPr marL="1399443" indent="0">
              <a:buNone/>
              <a:defRPr sz="918"/>
            </a:lvl4pPr>
            <a:lvl5pPr marL="1865925" indent="0">
              <a:buNone/>
              <a:defRPr sz="918"/>
            </a:lvl5pPr>
            <a:lvl6pPr marL="2332406" indent="0">
              <a:buNone/>
              <a:defRPr sz="918"/>
            </a:lvl6pPr>
            <a:lvl7pPr marL="2798887" indent="0">
              <a:buNone/>
              <a:defRPr sz="918"/>
            </a:lvl7pPr>
            <a:lvl8pPr marL="3265368" indent="0">
              <a:buNone/>
              <a:defRPr sz="918"/>
            </a:lvl8pPr>
            <a:lvl9pPr marL="3731849" indent="0">
              <a:buNone/>
              <a:defRPr sz="918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9779FE6C-F509-44B7-8F5C-7667D2457A70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0946580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26" Type="http://schemas.openxmlformats.org/officeDocument/2006/relationships/tags" Target="../tags/tag7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29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4.xml"/><Relationship Id="rId28" Type="http://schemas.openxmlformats.org/officeDocument/2006/relationships/tags" Target="../tags/tag9.xml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Relationship Id="rId27" Type="http://schemas.openxmlformats.org/officeDocument/2006/relationships/tags" Target="../tags/tag8.xml"/><Relationship Id="rId30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24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4" Type="http://schemas.openxmlformats.org/officeDocument/2006/relationships/theme" Target="../theme/theme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bg1">
                <a:tint val="93000"/>
                <a:satMod val="150000"/>
                <a:shade val="98000"/>
                <a:lumMod val="102000"/>
              </a:schemeClr>
            </a:gs>
            <a:gs pos="62000">
              <a:schemeClr val="bg1">
                <a:tint val="98000"/>
                <a:satMod val="130000"/>
                <a:shade val="90000"/>
                <a:lumMod val="103000"/>
              </a:schemeClr>
            </a:gs>
            <a:gs pos="100000">
              <a:schemeClr val="bg1">
                <a:shade val="63000"/>
                <a:satMod val="120000"/>
              </a:schemeClr>
            </a:gs>
          </a:gsLst>
          <a:lin ang="54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Rectangle 291" hidden="1"/>
          <p:cNvGraphicFramePr>
            <a:graphicFrameLocks/>
          </p:cNvGraphicFramePr>
          <p:nvPr userDrawn="1">
            <p:custDataLst>
              <p:tags r:id="rId20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8" name="think-cell Slide" r:id="rId29" imgW="0" imgH="0" progId="TCLayout.ActiveDocument.1">
                  <p:embed/>
                </p:oleObj>
              </mc:Choice>
              <mc:Fallback>
                <p:oleObj name="think-cell Slide" r:id="rId29" imgW="0" imgH="0" progId="TCLayout.ActiveDocument.1">
                  <p:embed/>
                  <p:pic>
                    <p:nvPicPr>
                      <p:cNvPr id="1026" name="Rectangle 291" hidden="1"/>
                      <p:cNvPicPr preferRelativeResize="0"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8" name="McK 2. Slide Title"/>
          <p:cNvSpPr>
            <a:spLocks noGrp="1" noChangeArrowheads="1"/>
          </p:cNvSpPr>
          <p:nvPr>
            <p:ph type="title"/>
            <p:custDataLst>
              <p:tags r:id="rId21"/>
            </p:custDataLst>
          </p:nvPr>
        </p:nvSpPr>
        <p:spPr bwMode="auto">
          <a:xfrm>
            <a:off x="161985" y="234864"/>
            <a:ext cx="11725485" cy="2984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altLang="zh-CN" smtClean="0"/>
              <a:t>Click to edit Master title style</a:t>
            </a:r>
          </a:p>
        </p:txBody>
      </p:sp>
      <p:sp>
        <p:nvSpPr>
          <p:cNvPr id="1076" name="McK 1. On-page tracker" hidden="1"/>
          <p:cNvSpPr>
            <a:spLocks noChangeArrowheads="1"/>
          </p:cNvSpPr>
          <p:nvPr>
            <p:custDataLst>
              <p:tags r:id="rId22"/>
            </p:custDataLst>
          </p:nvPr>
        </p:nvSpPr>
        <p:spPr bwMode="auto">
          <a:xfrm>
            <a:off x="161986" y="27536"/>
            <a:ext cx="876843" cy="219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28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TRACKER</a:t>
            </a:r>
          </a:p>
        </p:txBody>
      </p:sp>
      <p:sp>
        <p:nvSpPr>
          <p:cNvPr id="1032" name="McK 3. Unit of measure" hidden="1"/>
          <p:cNvSpPr txBox="1"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61985" y="542615"/>
            <a:ext cx="4973989" cy="22420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28" b="0" i="0" u="none" strike="noStrike" kern="1200" cap="none" spc="0" normalizeH="0" baseline="0" noProof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Unit of measure</a:t>
            </a:r>
          </a:p>
        </p:txBody>
      </p:sp>
      <p:grpSp>
        <p:nvGrpSpPr>
          <p:cNvPr id="1031" name="McK Slide Elements"/>
          <p:cNvGrpSpPr>
            <a:grpSpLocks/>
          </p:cNvGrpSpPr>
          <p:nvPr userDrawn="1"/>
        </p:nvGrpSpPr>
        <p:grpSpPr bwMode="auto">
          <a:xfrm>
            <a:off x="161985" y="6198769"/>
            <a:ext cx="11630454" cy="526418"/>
            <a:chOff x="75" y="3827"/>
            <a:chExt cx="5385" cy="325"/>
          </a:xfrm>
        </p:grpSpPr>
        <p:sp>
          <p:nvSpPr>
            <p:cNvPr id="1151" name="McK 4. Footnote" hidden="1"/>
            <p:cNvSpPr txBox="1">
              <a:spLocks noChangeArrowheads="1"/>
            </p:cNvSpPr>
            <p:nvPr userDrawn="1"/>
          </p:nvSpPr>
          <p:spPr bwMode="auto">
            <a:xfrm>
              <a:off x="75" y="3827"/>
              <a:ext cx="5385" cy="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106902" marR="0" lvl="0" indent="-106902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02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1 Сноска</a:t>
              </a:r>
            </a:p>
          </p:txBody>
        </p:sp>
        <p:sp>
          <p:nvSpPr>
            <p:cNvPr id="1154" name="McK 5. Source" hidden="1"/>
            <p:cNvSpPr>
              <a:spLocks noChangeArrowheads="1"/>
            </p:cNvSpPr>
            <p:nvPr userDrawn="1"/>
          </p:nvSpPr>
          <p:spPr bwMode="auto">
            <a:xfrm>
              <a:off x="75" y="4053"/>
              <a:ext cx="4323" cy="9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ctr">
              <a:spAutoFit/>
            </a:bodyPr>
            <a:lstStyle/>
            <a:p>
              <a:pPr marL="796905" marR="0" lvl="0" indent="-796905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>
                  <a:tab pos="795286" algn="l"/>
                </a:tabLst>
                <a:defRPr/>
              </a:pPr>
              <a:r>
                <a:rPr kumimoji="0" lang="ru-RU" sz="102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ИСТОЧНИК: источник</a:t>
              </a:r>
            </a:p>
          </p:txBody>
        </p:sp>
      </p:grpSp>
      <p:grpSp>
        <p:nvGrpSpPr>
          <p:cNvPr id="2" name="ACET" hidden="1"/>
          <p:cNvGrpSpPr>
            <a:grpSpLocks/>
          </p:cNvGrpSpPr>
          <p:nvPr>
            <p:custDataLst>
              <p:tags r:id="rId24"/>
            </p:custDataLst>
          </p:nvPr>
        </p:nvGrpSpPr>
        <p:grpSpPr bwMode="auto">
          <a:xfrm>
            <a:off x="1976207" y="1137061"/>
            <a:ext cx="5801189" cy="531276"/>
            <a:chOff x="915" y="702"/>
            <a:chExt cx="2686" cy="328"/>
          </a:xfrm>
        </p:grpSpPr>
        <p:cxnSp>
          <p:nvCxnSpPr>
            <p:cNvPr id="1039" name="AutoShape 249" hidden="1"/>
            <p:cNvCxnSpPr>
              <a:cxnSpLocks noChangeShapeType="1"/>
              <a:stCxn id="1274" idx="4"/>
              <a:endCxn id="1274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274" name="AutoShape 250" hidden="1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32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3296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632" b="0" i="0" u="none" strike="noStrike" kern="1200" cap="none" spc="0" normalizeH="0" baseline="0" noProof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+mn-cs"/>
                </a:rPr>
                <a:t>Unit of measure</a:t>
              </a:r>
            </a:p>
          </p:txBody>
        </p:sp>
      </p:grpSp>
      <p:sp>
        <p:nvSpPr>
          <p:cNvPr id="1304" name="Rectangle 280"/>
          <p:cNvSpPr>
            <a:spLocks noGrp="1" noChangeArrowheads="1"/>
          </p:cNvSpPr>
          <p:nvPr>
            <p:ph type="sldNum" sz="quarter" idx="4"/>
            <p:custDataLst>
              <p:tags r:id="rId25"/>
            </p:custDataLst>
          </p:nvPr>
        </p:nvSpPr>
        <p:spPr bwMode="auto">
          <a:xfrm>
            <a:off x="11768682" y="6566446"/>
            <a:ext cx="265653" cy="1554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1020" b="0">
                <a:solidFill>
                  <a:srgbClr val="000000"/>
                </a:solidFill>
              </a:defRPr>
            </a:lvl1pPr>
          </a:lstStyle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BB4EC44C-A170-4F1A-A46F-85F822B2D0B8}" type="slidenum">
              <a:rPr lang="ru-RU" altLang="ru-RU" smtClean="0"/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r>
              <a:rPr lang="ru-RU" altLang="ru-RU" smtClean="0"/>
              <a:t> </a:t>
            </a:r>
          </a:p>
        </p:txBody>
      </p:sp>
      <p:sp>
        <p:nvSpPr>
          <p:cNvPr id="1308" name="Working Draft" hidden="1"/>
          <p:cNvSpPr txBox="1">
            <a:spLocks noChangeArrowheads="1"/>
          </p:cNvSpPr>
          <p:nvPr>
            <p:custDataLst>
              <p:tags r:id="rId26"/>
            </p:custDataLst>
          </p:nvPr>
        </p:nvSpPr>
        <p:spPr bwMode="auto">
          <a:xfrm rot="5400000">
            <a:off x="11219326" y="2765591"/>
            <a:ext cx="1755289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1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Working Draft - Last Modified 13.08.2010 11:06:11</a:t>
            </a:r>
            <a:endParaRPr kumimoji="0" lang="ru-RU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309" name="Printed" hidden="1"/>
          <p:cNvSpPr txBox="1">
            <a:spLocks noChangeArrowheads="1"/>
          </p:cNvSpPr>
          <p:nvPr>
            <p:custDataLst>
              <p:tags r:id="rId27"/>
            </p:custDataLst>
          </p:nvPr>
        </p:nvSpPr>
        <p:spPr bwMode="auto">
          <a:xfrm rot="5400000">
            <a:off x="11602444" y="4301109"/>
            <a:ext cx="989053" cy="941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>
            <a:spAutoFit/>
          </a:bodyPr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612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+mn-cs"/>
              </a:rPr>
              <a:t>Printed 09.08.2010 17:17:07</a:t>
            </a:r>
            <a:endParaRPr kumimoji="0" lang="ru-RU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28"/>
            </p:custDataLst>
          </p:nvPr>
        </p:nvSpPr>
        <p:spPr bwMode="auto">
          <a:xfrm>
            <a:off x="1976207" y="1990667"/>
            <a:ext cx="5853024" cy="124720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Click to edit Master text styles</a:t>
            </a:r>
          </a:p>
          <a:p>
            <a:pPr lvl="1"/>
            <a:r>
              <a:rPr lang="ru-RU" altLang="ru-RU" smtClean="0"/>
              <a:t>Second level</a:t>
            </a:r>
          </a:p>
          <a:p>
            <a:pPr lvl="2"/>
            <a:r>
              <a:rPr lang="ru-RU" altLang="ru-RU" smtClean="0"/>
              <a:t>Third level</a:t>
            </a:r>
          </a:p>
          <a:p>
            <a:pPr lvl="3"/>
            <a:r>
              <a:rPr lang="ru-RU" altLang="ru-RU" smtClean="0"/>
              <a:t>Fourth level</a:t>
            </a:r>
          </a:p>
          <a:p>
            <a:pPr lvl="4"/>
            <a:r>
              <a:rPr lang="ru-RU" altLang="ru-RU" smtClean="0"/>
              <a:t>Fifth level</a:t>
            </a:r>
          </a:p>
        </p:txBody>
      </p:sp>
      <p:pic>
        <p:nvPicPr>
          <p:cNvPr id="1037" name="Picture 962" descr="logo_nomos_new___"/>
          <p:cNvPicPr>
            <a:picLocks noChangeAspect="1" noChangeArrowheads="1"/>
          </p:cNvPicPr>
          <p:nvPr userDrawn="1"/>
        </p:nvPicPr>
        <p:blipFill>
          <a:blip r:embed="rId3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60079" y="119862"/>
            <a:ext cx="1848778" cy="5814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88" name="Rectangle 964"/>
          <p:cNvSpPr>
            <a:spLocks noChangeArrowheads="1"/>
          </p:cNvSpPr>
          <p:nvPr userDrawn="1"/>
        </p:nvSpPr>
        <p:spPr bwMode="auto">
          <a:xfrm>
            <a:off x="641457" y="6691167"/>
            <a:ext cx="10997637" cy="155496"/>
          </a:xfrm>
          <a:prstGeom prst="rect">
            <a:avLst/>
          </a:prstGeom>
          <a:solidFill>
            <a:srgbClr val="0066CC"/>
          </a:solidFill>
          <a:ln w="9525">
            <a:solidFill>
              <a:srgbClr val="0066CC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marL="0" marR="0" lvl="0" indent="0" algn="l" defTabSz="93296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24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268428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  <p:sldLayoutId id="2147483687" r:id="rId5"/>
    <p:sldLayoutId id="2147483688" r:id="rId6"/>
    <p:sldLayoutId id="2147483689" r:id="rId7"/>
    <p:sldLayoutId id="2147483690" r:id="rId8"/>
    <p:sldLayoutId id="2147483691" r:id="rId9"/>
    <p:sldLayoutId id="2147483692" r:id="rId10"/>
    <p:sldLayoutId id="2147483693" r:id="rId11"/>
    <p:sldLayoutId id="2147483694" r:id="rId12"/>
    <p:sldLayoutId id="2147483695" r:id="rId13"/>
    <p:sldLayoutId id="2147483696" r:id="rId14"/>
    <p:sldLayoutId id="2147483697" r:id="rId15"/>
    <p:sldLayoutId id="2147483698" r:id="rId16"/>
    <p:sldLayoutId id="2147483699" r:id="rId17"/>
  </p:sldLayoutIdLst>
  <p:hf hdr="0" ftr="0" dt="0"/>
  <p:txStyles>
    <p:titleStyle>
      <a:lvl1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2pPr>
      <a:lvl3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3pPr>
      <a:lvl4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4pPr>
      <a:lvl5pPr algn="l" defTabSz="913526" rtl="0" eaLnBrk="0" fontAlgn="base" hangingPunct="0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5pPr>
      <a:lvl6pPr marL="466481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6pPr>
      <a:lvl7pPr marL="932962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7pPr>
      <a:lvl8pPr marL="1399443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8pPr>
      <a:lvl9pPr marL="1865925" algn="l" defTabSz="913526" rtl="0" fontAlgn="base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pitchFamily="34" charset="0"/>
        </a:defRPr>
      </a:lvl9pPr>
    </p:titleStyle>
    <p:bodyStyle>
      <a:lvl1pPr marL="349861" indent="-349861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32">
          <a:solidFill>
            <a:schemeClr val="tx1"/>
          </a:solidFill>
          <a:latin typeface="+mn-lt"/>
          <a:ea typeface="+mn-ea"/>
          <a:cs typeface="+mn-cs"/>
        </a:defRPr>
      </a:lvl1pPr>
      <a:lvl2pPr marL="197607" indent="-195987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panose="020B0604020202020204" pitchFamily="34" charset="0"/>
        <a:buChar char="▪"/>
        <a:defRPr sz="1632">
          <a:solidFill>
            <a:schemeClr val="tx1"/>
          </a:solidFill>
          <a:latin typeface="+mn-lt"/>
        </a:defRPr>
      </a:lvl2pPr>
      <a:lvl3pPr marL="466481" indent="-267255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–"/>
        <a:defRPr sz="1632">
          <a:solidFill>
            <a:schemeClr val="tx1"/>
          </a:solidFill>
          <a:latin typeface="+mn-lt"/>
        </a:defRPr>
      </a:lvl3pPr>
      <a:lvl4pPr marL="626835" indent="-158733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anose="020B0604020202020204" pitchFamily="34" charset="0"/>
        <a:buChar char="▫"/>
        <a:defRPr sz="1632">
          <a:solidFill>
            <a:schemeClr val="tx1"/>
          </a:solidFill>
          <a:latin typeface="+mn-lt"/>
        </a:defRPr>
      </a:lvl4pPr>
      <a:lvl5pPr marL="761271" indent="-132818" algn="l" defTabSz="913526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anose="020B0604020202020204" pitchFamily="34" charset="0"/>
        <a:buChar char="-"/>
        <a:defRPr sz="1632">
          <a:solidFill>
            <a:schemeClr val="tx1"/>
          </a:solidFill>
          <a:latin typeface="+mn-lt"/>
        </a:defRPr>
      </a:lvl5pPr>
      <a:lvl6pPr marL="1227752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6pPr>
      <a:lvl7pPr marL="1694234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7pPr>
      <a:lvl8pPr marL="2160715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8pPr>
      <a:lvl9pPr marL="2627196" indent="-132818" algn="l" defTabSz="913526" rtl="0" fontAlgn="base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pitchFamily="34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DB4602-5C1A-2DC0-DF94-F07F75C59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36336-A677-CFB8-CDF7-42E563FA09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AA21EA-E89C-39C3-2A77-092C67551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0AA43-19CE-4B99-890C-869DAD30876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04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614BC7C-300D-D694-E49A-A08D80DF58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2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3EC9E2-E3E2-B34F-10F4-9191EF46F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B41776-57F8-B84D-A794-A565EA6A420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82704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5" r:id="rId1"/>
    <p:sldLayoutId id="2147483756" r:id="rId2"/>
    <p:sldLayoutId id="2147483758" r:id="rId3"/>
  </p:sldLayoutIdLst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Formular" panose="020000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DB4602-5C1A-2DC0-DF94-F07F75C59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36336-A677-CFB8-CDF7-42E563FA09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AA21EA-E89C-39C3-2A77-092C67551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0AA43-19CE-4B99-890C-869DAD30876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04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614BC7C-300D-D694-E49A-A08D80DF58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2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3EC9E2-E3E2-B34F-10F4-9191EF46F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B41776-57F8-B84D-A794-A565EA6A420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221189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0" r:id="rId1"/>
    <p:sldLayoutId id="2147483762" r:id="rId2"/>
    <p:sldLayoutId id="2147483763" r:id="rId3"/>
    <p:sldLayoutId id="2147483769" r:id="rId4"/>
  </p:sldLayoutIdLst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Formular" panose="020000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FDB4602-5C1A-2DC0-DF94-F07F75C59A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id="{2EB36336-A677-CFB8-CDF7-42E563FA092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4AAA21EA-E89C-39C3-2A77-092C675510D6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10AA43-19CE-4B99-890C-869DAD308769}" type="datetime1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04.04.202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E614BC7C-300D-D694-E49A-A08D80DF580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t>22</a:t>
            </a:r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553EC9E2-E3E2-B34F-10F4-9191EF46F2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FORMULAR-LIGHT" panose="02000000000000000000" pitchFamily="2" charset="0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0B41776-57F8-B84D-A794-A565EA6A420D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tint val="75000"/>
                  </a:srgbClr>
                </a:solidFill>
                <a:effectLst/>
                <a:uLnTx/>
                <a:uFillTx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srgbClr val="000000">
                  <a:tint val="75000"/>
                </a:srgbClr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04542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7" r:id="rId2"/>
    <p:sldLayoutId id="2147483768" r:id="rId3"/>
  </p:sldLayoutIdLst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bg1"/>
          </a:solidFill>
          <a:latin typeface="Formular" panose="020000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Formular" panose="02000000000000000000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eg"/><Relationship Id="rId13" Type="http://schemas.openxmlformats.org/officeDocument/2006/relationships/image" Target="../media/image25.png"/><Relationship Id="rId3" Type="http://schemas.openxmlformats.org/officeDocument/2006/relationships/notesSlide" Target="../notesSlides/notesSlide7.xml"/><Relationship Id="rId7" Type="http://schemas.openxmlformats.org/officeDocument/2006/relationships/image" Target="../media/image19.jpg"/><Relationship Id="rId12" Type="http://schemas.openxmlformats.org/officeDocument/2006/relationships/image" Target="../media/image24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6.xml"/><Relationship Id="rId6" Type="http://schemas.openxmlformats.org/officeDocument/2006/relationships/image" Target="../media/image18.jpg"/><Relationship Id="rId11" Type="http://schemas.openxmlformats.org/officeDocument/2006/relationships/image" Target="../media/image23.png"/><Relationship Id="rId5" Type="http://schemas.openxmlformats.org/officeDocument/2006/relationships/image" Target="../media/image17.png"/><Relationship Id="rId10" Type="http://schemas.openxmlformats.org/officeDocument/2006/relationships/image" Target="../media/image22.png"/><Relationship Id="rId4" Type="http://schemas.openxmlformats.org/officeDocument/2006/relationships/image" Target="../media/image14.PNG"/><Relationship Id="rId9" Type="http://schemas.openxmlformats.org/officeDocument/2006/relationships/image" Target="../media/image21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notesSlide" Target="../notesSlides/notesSlide8.xml"/><Relationship Id="rId7" Type="http://schemas.openxmlformats.org/officeDocument/2006/relationships/image" Target="../media/image28.png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7.xml"/><Relationship Id="rId6" Type="http://schemas.openxmlformats.org/officeDocument/2006/relationships/image" Target="../media/image27.jpeg"/><Relationship Id="rId5" Type="http://schemas.openxmlformats.org/officeDocument/2006/relationships/image" Target="../media/image26.jpeg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8.xml"/><Relationship Id="rId6" Type="http://schemas.openxmlformats.org/officeDocument/2006/relationships/image" Target="../media/image31.png"/><Relationship Id="rId5" Type="http://schemas.openxmlformats.org/officeDocument/2006/relationships/image" Target="../media/image30.png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9.xml"/><Relationship Id="rId5" Type="http://schemas.openxmlformats.org/officeDocument/2006/relationships/hyperlink" Target="https://realistbank.ru/business/rko/" TargetMode="External"/><Relationship Id="rId4" Type="http://schemas.openxmlformats.org/officeDocument/2006/relationships/image" Target="../media/image14.PN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0.xml"/><Relationship Id="rId4" Type="http://schemas.openxmlformats.org/officeDocument/2006/relationships/image" Target="../media/image1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1.xml"/><Relationship Id="rId4" Type="http://schemas.openxmlformats.org/officeDocument/2006/relationships/image" Target="../media/image14.PNG"/></Relationships>
</file>

<file path=ppt/slides/_rels/slide16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13.xml"/><Relationship Id="rId7" Type="http://schemas.openxmlformats.org/officeDocument/2006/relationships/image" Target="../media/image33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2.xml"/><Relationship Id="rId16" Type="http://schemas.microsoft.com/office/2007/relationships/hdphoto" Target="../media/hdphoto6.wdp"/><Relationship Id="rId1" Type="http://schemas.openxmlformats.org/officeDocument/2006/relationships/tags" Target="../tags/tag42.xml"/><Relationship Id="rId6" Type="http://schemas.microsoft.com/office/2007/relationships/hdphoto" Target="../media/hdphoto1.wdp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5" Type="http://schemas.openxmlformats.org/officeDocument/2006/relationships/image" Target="../media/image37.png"/><Relationship Id="rId10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openxmlformats.org/officeDocument/2006/relationships/image" Target="../media/image34.png"/><Relationship Id="rId14" Type="http://schemas.microsoft.com/office/2007/relationships/hdphoto" Target="../media/hdphoto5.wdp"/></Relationships>
</file>

<file path=ppt/slides/_rels/slide17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14.xml"/><Relationship Id="rId7" Type="http://schemas.openxmlformats.org/officeDocument/2006/relationships/image" Target="../media/image33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2.xml"/><Relationship Id="rId16" Type="http://schemas.microsoft.com/office/2007/relationships/hdphoto" Target="../media/hdphoto6.wdp"/><Relationship Id="rId1" Type="http://schemas.openxmlformats.org/officeDocument/2006/relationships/tags" Target="../tags/tag43.xml"/><Relationship Id="rId6" Type="http://schemas.microsoft.com/office/2007/relationships/hdphoto" Target="../media/hdphoto1.wdp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5" Type="http://schemas.openxmlformats.org/officeDocument/2006/relationships/image" Target="../media/image37.png"/><Relationship Id="rId10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openxmlformats.org/officeDocument/2006/relationships/image" Target="../media/image34.png"/><Relationship Id="rId14" Type="http://schemas.microsoft.com/office/2007/relationships/hdphoto" Target="../media/hdphoto5.wdp"/></Relationships>
</file>

<file path=ppt/slides/_rels/slide18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15.xml"/><Relationship Id="rId7" Type="http://schemas.openxmlformats.org/officeDocument/2006/relationships/image" Target="../media/image33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4.xml"/><Relationship Id="rId6" Type="http://schemas.microsoft.com/office/2007/relationships/hdphoto" Target="../media/hdphoto1.wdp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0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openxmlformats.org/officeDocument/2006/relationships/image" Target="../media/image34.png"/><Relationship Id="rId14" Type="http://schemas.microsoft.com/office/2007/relationships/hdphoto" Target="../media/hdphoto5.wdp"/></Relationships>
</file>

<file path=ppt/slides/_rels/slide19.xml.rels><?xml version="1.0" encoding="UTF-8" standalone="yes"?>
<Relationships xmlns="http://schemas.openxmlformats.org/package/2006/relationships"><Relationship Id="rId8" Type="http://schemas.microsoft.com/office/2007/relationships/hdphoto" Target="../media/hdphoto2.wdp"/><Relationship Id="rId13" Type="http://schemas.openxmlformats.org/officeDocument/2006/relationships/image" Target="../media/image36.png"/><Relationship Id="rId3" Type="http://schemas.openxmlformats.org/officeDocument/2006/relationships/notesSlide" Target="../notesSlides/notesSlide16.xml"/><Relationship Id="rId7" Type="http://schemas.openxmlformats.org/officeDocument/2006/relationships/image" Target="../media/image33.png"/><Relationship Id="rId12" Type="http://schemas.microsoft.com/office/2007/relationships/hdphoto" Target="../media/hdphoto4.wdp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5.xml"/><Relationship Id="rId6" Type="http://schemas.microsoft.com/office/2007/relationships/hdphoto" Target="../media/hdphoto1.wdp"/><Relationship Id="rId11" Type="http://schemas.openxmlformats.org/officeDocument/2006/relationships/image" Target="../media/image35.png"/><Relationship Id="rId5" Type="http://schemas.openxmlformats.org/officeDocument/2006/relationships/image" Target="../media/image32.png"/><Relationship Id="rId10" Type="http://schemas.microsoft.com/office/2007/relationships/hdphoto" Target="../media/hdphoto3.wdp"/><Relationship Id="rId4" Type="http://schemas.openxmlformats.org/officeDocument/2006/relationships/image" Target="../media/image14.PNG"/><Relationship Id="rId9" Type="http://schemas.openxmlformats.org/officeDocument/2006/relationships/image" Target="../media/image34.png"/><Relationship Id="rId14" Type="http://schemas.microsoft.com/office/2007/relationships/hdphoto" Target="../media/hdphoto5.wdp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hyperlink" Target="https://realistbank.ru/business/rko/" TargetMode="External"/><Relationship Id="rId7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realistbank.ru/business/operatsii-po-ved/" TargetMode="External"/><Relationship Id="rId5" Type="http://schemas.openxmlformats.org/officeDocument/2006/relationships/hyperlink" Target="https://realistbank.ru/individuals/mortgage-business/" TargetMode="External"/><Relationship Id="rId4" Type="http://schemas.openxmlformats.org/officeDocument/2006/relationships/hyperlink" Target="https://realistbank.ru/business/overdraft/" TargetMode="Externa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6.xml"/><Relationship Id="rId4" Type="http://schemas.openxmlformats.org/officeDocument/2006/relationships/image" Target="../media/image14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7.xml"/><Relationship Id="rId4" Type="http://schemas.openxmlformats.org/officeDocument/2006/relationships/image" Target="../media/image14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8.xml"/><Relationship Id="rId4" Type="http://schemas.openxmlformats.org/officeDocument/2006/relationships/image" Target="../media/image14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9.xml"/><Relationship Id="rId4" Type="http://schemas.openxmlformats.org/officeDocument/2006/relationships/image" Target="../media/image14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0.xml"/><Relationship Id="rId4" Type="http://schemas.openxmlformats.org/officeDocument/2006/relationships/image" Target="../media/image14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1.xml"/><Relationship Id="rId4" Type="http://schemas.openxmlformats.org/officeDocument/2006/relationships/image" Target="../media/image1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2.xml"/><Relationship Id="rId5" Type="http://schemas.openxmlformats.org/officeDocument/2006/relationships/image" Target="../media/image38.png"/><Relationship Id="rId4" Type="http://schemas.openxmlformats.org/officeDocument/2006/relationships/image" Target="../media/image14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3.xml"/><Relationship Id="rId4" Type="http://schemas.openxmlformats.org/officeDocument/2006/relationships/image" Target="../media/image14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54.xml"/><Relationship Id="rId4" Type="http://schemas.openxmlformats.org/officeDocument/2006/relationships/image" Target="../media/image14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hyperlink" Target="https://realistbank.ru/business/rko/" TargetMode="External"/><Relationship Id="rId7" Type="http://schemas.openxmlformats.org/officeDocument/2006/relationships/image" Target="../media/image12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2.xml"/><Relationship Id="rId6" Type="http://schemas.openxmlformats.org/officeDocument/2006/relationships/hyperlink" Target="https://realistbank.ru/business/operatsii-po-ved/" TargetMode="External"/><Relationship Id="rId5" Type="http://schemas.openxmlformats.org/officeDocument/2006/relationships/hyperlink" Target="https://realistbank.ru/individuals/mortgage-business/" TargetMode="External"/><Relationship Id="rId4" Type="http://schemas.openxmlformats.org/officeDocument/2006/relationships/hyperlink" Target="https://realistbank.ru/business/overdraft/" TargetMode="Externa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0.xml"/><Relationship Id="rId6" Type="http://schemas.openxmlformats.org/officeDocument/2006/relationships/image" Target="../media/image15.png"/><Relationship Id="rId5" Type="http://schemas.openxmlformats.org/officeDocument/2006/relationships/hyperlink" Target="https://realistbank.ru/business/rko/" TargetMode="External"/><Relationship Id="rId4" Type="http://schemas.openxmlformats.org/officeDocument/2006/relationships/image" Target="../media/image14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3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4.xml"/><Relationship Id="rId1" Type="http://schemas.openxmlformats.org/officeDocument/2006/relationships/tags" Target="../tags/tag34.xml"/><Relationship Id="rId4" Type="http://schemas.openxmlformats.org/officeDocument/2006/relationships/image" Target="../media/image1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5.xml"/><Relationship Id="rId6" Type="http://schemas.openxmlformats.org/officeDocument/2006/relationships/image" Target="../media/image16.png"/><Relationship Id="rId5" Type="http://schemas.openxmlformats.org/officeDocument/2006/relationships/hyperlink" Target="https://realistbank.ru/business/rko/" TargetMode="External"/><Relationship Id="rId4" Type="http://schemas.openxmlformats.org/officeDocument/2006/relationships/image" Target="../media/image1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7"/>
          <p:cNvSpPr txBox="1">
            <a:spLocks/>
          </p:cNvSpPr>
          <p:nvPr/>
        </p:nvSpPr>
        <p:spPr>
          <a:xfrm>
            <a:off x="247650" y="4171950"/>
            <a:ext cx="8228401" cy="157782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Formular" panose="02000000000000000000" pitchFamily="2" charset="-52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4000" dirty="0" smtClean="0">
                <a:solidFill>
                  <a:srgbClr val="102C51"/>
                </a:solidFill>
              </a:rPr>
              <a:t>Основные условия кредитных и </a:t>
            </a:r>
            <a:r>
              <a:rPr lang="ru-RU" sz="4000" dirty="0" err="1" smtClean="0">
                <a:solidFill>
                  <a:srgbClr val="102C51"/>
                </a:solidFill>
              </a:rPr>
              <a:t>некредитных</a:t>
            </a:r>
            <a:r>
              <a:rPr lang="ru-RU" sz="4000" dirty="0" smtClean="0">
                <a:solidFill>
                  <a:srgbClr val="102C51"/>
                </a:solidFill>
              </a:rPr>
              <a:t> продуктов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102C51"/>
              </a:solidFill>
              <a:effectLst/>
              <a:uLnTx/>
              <a:uFillTx/>
            </a:endParaRPr>
          </a:p>
        </p:txBody>
      </p:sp>
      <p:sp>
        <p:nvSpPr>
          <p:cNvPr id="7" name="Объект 19"/>
          <p:cNvSpPr txBox="1">
            <a:spLocks/>
          </p:cNvSpPr>
          <p:nvPr/>
        </p:nvSpPr>
        <p:spPr>
          <a:xfrm>
            <a:off x="247650" y="5982391"/>
            <a:ext cx="12034581" cy="69215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bg1"/>
                </a:solidFill>
                <a:latin typeface="Formular" panose="02000000000000000000" pitchFamily="2" charset="0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bg1"/>
                </a:solidFill>
                <a:latin typeface="Formular" panose="02000000000000000000" pitchFamily="2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bg1"/>
                </a:solidFill>
                <a:latin typeface="Formular" panose="02000000000000000000" pitchFamily="2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Formular" panose="02000000000000000000" pitchFamily="2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bg1"/>
                </a:solidFill>
                <a:latin typeface="Formular" panose="02000000000000000000" pitchFamily="2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02C51"/>
                </a:solidFill>
                <a:effectLst/>
                <a:uLnTx/>
                <a:uFillTx/>
                <a:latin typeface="Formular" panose="02000000000000000000" pitchFamily="2" charset="0"/>
                <a:ea typeface="+mn-ea"/>
                <a:cs typeface="+mn-cs"/>
              </a:rPr>
              <a:t>ДРМСБ </a:t>
            </a:r>
            <a:r>
              <a:rPr kumimoji="0" lang="en-US" sz="2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102C51"/>
                </a:solidFill>
                <a:effectLst/>
                <a:uLnTx/>
                <a:uFillTx/>
                <a:latin typeface="Formular" panose="02000000000000000000" pitchFamily="2" charset="0"/>
                <a:ea typeface="+mn-ea"/>
                <a:cs typeface="+mn-cs"/>
              </a:rPr>
              <a:t>202</a:t>
            </a:r>
            <a:r>
              <a:rPr lang="ru-RU" dirty="0">
                <a:solidFill>
                  <a:srgbClr val="102C51"/>
                </a:solidFill>
              </a:rPr>
              <a:t>4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102C51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391290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0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25624" y="169074"/>
            <a:ext cx="8518028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>
                <a:latin typeface="Formular" panose="02000000000000000000"/>
              </a:rPr>
              <a:t>И</a:t>
            </a:r>
            <a:r>
              <a:rPr lang="ru-RU" altLang="ru-RU" sz="2400" dirty="0" smtClean="0">
                <a:latin typeface="Formular" panose="02000000000000000000"/>
              </a:rPr>
              <a:t>сходящие и входящие платежи в валюте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pSp>
        <p:nvGrpSpPr>
          <p:cNvPr id="15" name="Группа 14"/>
          <p:cNvGrpSpPr/>
          <p:nvPr/>
        </p:nvGrpSpPr>
        <p:grpSpPr>
          <a:xfrm>
            <a:off x="8681328" y="4897870"/>
            <a:ext cx="3220180" cy="1098280"/>
            <a:chOff x="5429291" y="5742892"/>
            <a:chExt cx="3372356" cy="1077125"/>
          </a:xfrm>
        </p:grpSpPr>
        <p:sp>
          <p:nvSpPr>
            <p:cNvPr id="16" name="Полилиния 15"/>
            <p:cNvSpPr/>
            <p:nvPr/>
          </p:nvSpPr>
          <p:spPr>
            <a:xfrm>
              <a:off x="6156210" y="5931298"/>
              <a:ext cx="2645437" cy="826760"/>
            </a:xfrm>
            <a:custGeom>
              <a:avLst/>
              <a:gdLst>
                <a:gd name="connsiteX0" fmla="*/ 0 w 2676815"/>
                <a:gd name="connsiteY0" fmla="*/ 119650 h 717888"/>
                <a:gd name="connsiteX1" fmla="*/ 119650 w 2676815"/>
                <a:gd name="connsiteY1" fmla="*/ 0 h 717888"/>
                <a:gd name="connsiteX2" fmla="*/ 2557165 w 2676815"/>
                <a:gd name="connsiteY2" fmla="*/ 0 h 717888"/>
                <a:gd name="connsiteX3" fmla="*/ 2676815 w 2676815"/>
                <a:gd name="connsiteY3" fmla="*/ 119650 h 717888"/>
                <a:gd name="connsiteX4" fmla="*/ 2676815 w 2676815"/>
                <a:gd name="connsiteY4" fmla="*/ 598238 h 717888"/>
                <a:gd name="connsiteX5" fmla="*/ 2557165 w 2676815"/>
                <a:gd name="connsiteY5" fmla="*/ 717888 h 717888"/>
                <a:gd name="connsiteX6" fmla="*/ 119650 w 2676815"/>
                <a:gd name="connsiteY6" fmla="*/ 717888 h 717888"/>
                <a:gd name="connsiteX7" fmla="*/ 0 w 2676815"/>
                <a:gd name="connsiteY7" fmla="*/ 598238 h 717888"/>
                <a:gd name="connsiteX8" fmla="*/ 0 w 2676815"/>
                <a:gd name="connsiteY8" fmla="*/ 119650 h 71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6815" h="717888">
                  <a:moveTo>
                    <a:pt x="0" y="119650"/>
                  </a:moveTo>
                  <a:cubicBezTo>
                    <a:pt x="0" y="53569"/>
                    <a:pt x="53569" y="0"/>
                    <a:pt x="119650" y="0"/>
                  </a:cubicBezTo>
                  <a:lnTo>
                    <a:pt x="2557165" y="0"/>
                  </a:lnTo>
                  <a:cubicBezTo>
                    <a:pt x="2623246" y="0"/>
                    <a:pt x="2676815" y="53569"/>
                    <a:pt x="2676815" y="119650"/>
                  </a:cubicBezTo>
                  <a:lnTo>
                    <a:pt x="2676815" y="598238"/>
                  </a:lnTo>
                  <a:cubicBezTo>
                    <a:pt x="2676815" y="664319"/>
                    <a:pt x="2623246" y="717888"/>
                    <a:pt x="2557165" y="717888"/>
                  </a:cubicBezTo>
                  <a:lnTo>
                    <a:pt x="119650" y="717888"/>
                  </a:lnTo>
                  <a:cubicBezTo>
                    <a:pt x="53569" y="717888"/>
                    <a:pt x="0" y="664319"/>
                    <a:pt x="0" y="598238"/>
                  </a:cubicBezTo>
                  <a:lnTo>
                    <a:pt x="0" y="119650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1637" tIns="88384" rIns="88384" bIns="8838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Белорусский рубль (</a:t>
              </a:r>
              <a:r>
                <a:rPr lang="en-US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BYN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)</a:t>
              </a:r>
              <a:endParaRPr lang="ru-RU" sz="1200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18" name="Овал 17"/>
            <p:cNvSpPr/>
            <p:nvPr/>
          </p:nvSpPr>
          <p:spPr>
            <a:xfrm>
              <a:off x="5429291" y="5742892"/>
              <a:ext cx="1021483" cy="1077125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 l="-17000" t="-5000" r="-29000" b="-42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9" name="Группа 18"/>
          <p:cNvGrpSpPr/>
          <p:nvPr/>
        </p:nvGrpSpPr>
        <p:grpSpPr>
          <a:xfrm>
            <a:off x="825624" y="1791897"/>
            <a:ext cx="3131550" cy="1337341"/>
            <a:chOff x="7640725" y="9130592"/>
            <a:chExt cx="2482087" cy="942797"/>
          </a:xfrm>
        </p:grpSpPr>
        <p:sp>
          <p:nvSpPr>
            <p:cNvPr id="20" name="Полилиния 19"/>
            <p:cNvSpPr/>
            <p:nvPr/>
          </p:nvSpPr>
          <p:spPr>
            <a:xfrm>
              <a:off x="8203072" y="9460215"/>
              <a:ext cx="1919740" cy="525063"/>
            </a:xfrm>
            <a:custGeom>
              <a:avLst/>
              <a:gdLst>
                <a:gd name="connsiteX0" fmla="*/ 0 w 2676815"/>
                <a:gd name="connsiteY0" fmla="*/ 119650 h 717888"/>
                <a:gd name="connsiteX1" fmla="*/ 119650 w 2676815"/>
                <a:gd name="connsiteY1" fmla="*/ 0 h 717888"/>
                <a:gd name="connsiteX2" fmla="*/ 2557165 w 2676815"/>
                <a:gd name="connsiteY2" fmla="*/ 0 h 717888"/>
                <a:gd name="connsiteX3" fmla="*/ 2676815 w 2676815"/>
                <a:gd name="connsiteY3" fmla="*/ 119650 h 717888"/>
                <a:gd name="connsiteX4" fmla="*/ 2676815 w 2676815"/>
                <a:gd name="connsiteY4" fmla="*/ 598238 h 717888"/>
                <a:gd name="connsiteX5" fmla="*/ 2557165 w 2676815"/>
                <a:gd name="connsiteY5" fmla="*/ 717888 h 717888"/>
                <a:gd name="connsiteX6" fmla="*/ 119650 w 2676815"/>
                <a:gd name="connsiteY6" fmla="*/ 717888 h 717888"/>
                <a:gd name="connsiteX7" fmla="*/ 0 w 2676815"/>
                <a:gd name="connsiteY7" fmla="*/ 598238 h 717888"/>
                <a:gd name="connsiteX8" fmla="*/ 0 w 2676815"/>
                <a:gd name="connsiteY8" fmla="*/ 119650 h 71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6815" h="717888">
                  <a:moveTo>
                    <a:pt x="0" y="119650"/>
                  </a:moveTo>
                  <a:cubicBezTo>
                    <a:pt x="0" y="53569"/>
                    <a:pt x="53569" y="0"/>
                    <a:pt x="119650" y="0"/>
                  </a:cubicBezTo>
                  <a:lnTo>
                    <a:pt x="2557165" y="0"/>
                  </a:lnTo>
                  <a:cubicBezTo>
                    <a:pt x="2623246" y="0"/>
                    <a:pt x="2676815" y="53569"/>
                    <a:pt x="2676815" y="119650"/>
                  </a:cubicBezTo>
                  <a:lnTo>
                    <a:pt x="2676815" y="598238"/>
                  </a:lnTo>
                  <a:cubicBezTo>
                    <a:pt x="2676815" y="664319"/>
                    <a:pt x="2623246" y="717888"/>
                    <a:pt x="2557165" y="717888"/>
                  </a:cubicBezTo>
                  <a:lnTo>
                    <a:pt x="119650" y="717888"/>
                  </a:lnTo>
                  <a:cubicBezTo>
                    <a:pt x="53569" y="717888"/>
                    <a:pt x="0" y="664319"/>
                    <a:pt x="0" y="598238"/>
                  </a:cubicBezTo>
                  <a:lnTo>
                    <a:pt x="0" y="119650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1637" tIns="88384" rIns="88384" bIns="8838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Казахстанский тенге (</a:t>
              </a:r>
              <a:r>
                <a:rPr lang="en-US" sz="1200" b="1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KZT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)</a:t>
              </a:r>
              <a:endParaRPr lang="ru-RU" sz="1200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21" name="Овал 20"/>
            <p:cNvSpPr/>
            <p:nvPr/>
          </p:nvSpPr>
          <p:spPr>
            <a:xfrm>
              <a:off x="7640725" y="9130592"/>
              <a:ext cx="886867" cy="942797"/>
            </a:xfrm>
            <a:prstGeom prst="ellipse">
              <a:avLst/>
            </a:prstGeom>
            <a:blipFill dpi="0" rotWithShape="1">
              <a:blip r:embed="rId6"/>
              <a:srcRect/>
              <a:stretch>
                <a:fillRect l="-45000" t="2000" r="-11000" b="-87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2" name="Группа 21"/>
          <p:cNvGrpSpPr/>
          <p:nvPr/>
        </p:nvGrpSpPr>
        <p:grpSpPr>
          <a:xfrm>
            <a:off x="825624" y="3232080"/>
            <a:ext cx="3159506" cy="1367640"/>
            <a:chOff x="8524074" y="8692650"/>
            <a:chExt cx="2599257" cy="954311"/>
          </a:xfrm>
        </p:grpSpPr>
        <p:sp>
          <p:nvSpPr>
            <p:cNvPr id="23" name="Полилиния 22"/>
            <p:cNvSpPr/>
            <p:nvPr/>
          </p:nvSpPr>
          <p:spPr>
            <a:xfrm>
              <a:off x="8933567" y="9034741"/>
              <a:ext cx="2189764" cy="550062"/>
            </a:xfrm>
            <a:custGeom>
              <a:avLst/>
              <a:gdLst>
                <a:gd name="connsiteX0" fmla="*/ 0 w 2653369"/>
                <a:gd name="connsiteY0" fmla="*/ 118602 h 711600"/>
                <a:gd name="connsiteX1" fmla="*/ 118602 w 2653369"/>
                <a:gd name="connsiteY1" fmla="*/ 0 h 711600"/>
                <a:gd name="connsiteX2" fmla="*/ 2534767 w 2653369"/>
                <a:gd name="connsiteY2" fmla="*/ 0 h 711600"/>
                <a:gd name="connsiteX3" fmla="*/ 2653369 w 2653369"/>
                <a:gd name="connsiteY3" fmla="*/ 118602 h 711600"/>
                <a:gd name="connsiteX4" fmla="*/ 2653369 w 2653369"/>
                <a:gd name="connsiteY4" fmla="*/ 592998 h 711600"/>
                <a:gd name="connsiteX5" fmla="*/ 2534767 w 2653369"/>
                <a:gd name="connsiteY5" fmla="*/ 711600 h 711600"/>
                <a:gd name="connsiteX6" fmla="*/ 118602 w 2653369"/>
                <a:gd name="connsiteY6" fmla="*/ 711600 h 711600"/>
                <a:gd name="connsiteX7" fmla="*/ 0 w 2653369"/>
                <a:gd name="connsiteY7" fmla="*/ 592998 h 711600"/>
                <a:gd name="connsiteX8" fmla="*/ 0 w 2653369"/>
                <a:gd name="connsiteY8" fmla="*/ 118602 h 71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3369" h="711600">
                  <a:moveTo>
                    <a:pt x="0" y="118602"/>
                  </a:moveTo>
                  <a:cubicBezTo>
                    <a:pt x="0" y="53100"/>
                    <a:pt x="53100" y="0"/>
                    <a:pt x="118602" y="0"/>
                  </a:cubicBezTo>
                  <a:lnTo>
                    <a:pt x="2534767" y="0"/>
                  </a:lnTo>
                  <a:cubicBezTo>
                    <a:pt x="2600269" y="0"/>
                    <a:pt x="2653369" y="53100"/>
                    <a:pt x="2653369" y="118602"/>
                  </a:cubicBezTo>
                  <a:lnTo>
                    <a:pt x="2653369" y="592998"/>
                  </a:lnTo>
                  <a:cubicBezTo>
                    <a:pt x="2653369" y="658500"/>
                    <a:pt x="2600269" y="711600"/>
                    <a:pt x="2534767" y="711600"/>
                  </a:cubicBezTo>
                  <a:lnTo>
                    <a:pt x="118602" y="711600"/>
                  </a:lnTo>
                  <a:cubicBezTo>
                    <a:pt x="53100" y="711600"/>
                    <a:pt x="0" y="658500"/>
                    <a:pt x="0" y="592998"/>
                  </a:cubicBezTo>
                  <a:lnTo>
                    <a:pt x="0" y="118602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96367" tIns="88077" rIns="88077" bIns="88077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    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Киргизский</a:t>
              </a:r>
              <a:r>
                <a:rPr lang="ru-RU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 сом (</a:t>
              </a:r>
              <a:r>
                <a:rPr lang="en-US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KGS</a:t>
              </a:r>
              <a:r>
                <a:rPr lang="ru-RU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)</a:t>
              </a:r>
              <a:endParaRPr lang="ru-RU" sz="1200" b="1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25" name="Овал 24"/>
            <p:cNvSpPr/>
            <p:nvPr/>
          </p:nvSpPr>
          <p:spPr>
            <a:xfrm>
              <a:off x="8524074" y="8692650"/>
              <a:ext cx="940508" cy="954311"/>
            </a:xfrm>
            <a:prstGeom prst="ellipse">
              <a:avLst/>
            </a:prstGeom>
            <a:blipFill dpi="0" rotWithShape="1">
              <a:blip r:embed="rId7"/>
              <a:srcRect/>
              <a:stretch>
                <a:fillRect l="-11000" t="-3000" r="-110000" b="-5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6" name="Группа 25"/>
          <p:cNvGrpSpPr/>
          <p:nvPr/>
        </p:nvGrpSpPr>
        <p:grpSpPr>
          <a:xfrm>
            <a:off x="825623" y="4827546"/>
            <a:ext cx="3173966" cy="1168605"/>
            <a:chOff x="8599958" y="6222452"/>
            <a:chExt cx="2467076" cy="824666"/>
          </a:xfrm>
        </p:grpSpPr>
        <p:sp>
          <p:nvSpPr>
            <p:cNvPr id="27" name="Полилиния 26"/>
            <p:cNvSpPr/>
            <p:nvPr/>
          </p:nvSpPr>
          <p:spPr>
            <a:xfrm>
              <a:off x="9125442" y="6407645"/>
              <a:ext cx="1941592" cy="594890"/>
            </a:xfrm>
            <a:custGeom>
              <a:avLst/>
              <a:gdLst>
                <a:gd name="connsiteX0" fmla="*/ 0 w 2537733"/>
                <a:gd name="connsiteY0" fmla="*/ 94810 h 568849"/>
                <a:gd name="connsiteX1" fmla="*/ 94810 w 2537733"/>
                <a:gd name="connsiteY1" fmla="*/ 0 h 568849"/>
                <a:gd name="connsiteX2" fmla="*/ 2442923 w 2537733"/>
                <a:gd name="connsiteY2" fmla="*/ 0 h 568849"/>
                <a:gd name="connsiteX3" fmla="*/ 2537733 w 2537733"/>
                <a:gd name="connsiteY3" fmla="*/ 94810 h 568849"/>
                <a:gd name="connsiteX4" fmla="*/ 2537733 w 2537733"/>
                <a:gd name="connsiteY4" fmla="*/ 474039 h 568849"/>
                <a:gd name="connsiteX5" fmla="*/ 2442923 w 2537733"/>
                <a:gd name="connsiteY5" fmla="*/ 568849 h 568849"/>
                <a:gd name="connsiteX6" fmla="*/ 94810 w 2537733"/>
                <a:gd name="connsiteY6" fmla="*/ 568849 h 568849"/>
                <a:gd name="connsiteX7" fmla="*/ 0 w 2537733"/>
                <a:gd name="connsiteY7" fmla="*/ 474039 h 568849"/>
                <a:gd name="connsiteX8" fmla="*/ 0 w 2537733"/>
                <a:gd name="connsiteY8" fmla="*/ 94810 h 56884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537733" h="568849">
                  <a:moveTo>
                    <a:pt x="0" y="94810"/>
                  </a:moveTo>
                  <a:cubicBezTo>
                    <a:pt x="0" y="42448"/>
                    <a:pt x="42448" y="0"/>
                    <a:pt x="94810" y="0"/>
                  </a:cubicBezTo>
                  <a:lnTo>
                    <a:pt x="2442923" y="0"/>
                  </a:lnTo>
                  <a:cubicBezTo>
                    <a:pt x="2495285" y="0"/>
                    <a:pt x="2537733" y="42448"/>
                    <a:pt x="2537733" y="94810"/>
                  </a:cubicBezTo>
                  <a:lnTo>
                    <a:pt x="2537733" y="474039"/>
                  </a:lnTo>
                  <a:cubicBezTo>
                    <a:pt x="2537733" y="526401"/>
                    <a:pt x="2495285" y="568849"/>
                    <a:pt x="2442923" y="568849"/>
                  </a:cubicBezTo>
                  <a:lnTo>
                    <a:pt x="94810" y="568849"/>
                  </a:lnTo>
                  <a:cubicBezTo>
                    <a:pt x="42448" y="568849"/>
                    <a:pt x="0" y="526401"/>
                    <a:pt x="0" y="474039"/>
                  </a:cubicBezTo>
                  <a:lnTo>
                    <a:pt x="0" y="94810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476733" tIns="81109" rIns="81109" bIns="81109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9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    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Армянский драм (</a:t>
              </a:r>
              <a:r>
                <a:rPr lang="en-US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AMD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)</a:t>
              </a:r>
              <a:endParaRPr lang="ru-RU" sz="1200" b="1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28" name="Овал 27"/>
            <p:cNvSpPr/>
            <p:nvPr/>
          </p:nvSpPr>
          <p:spPr>
            <a:xfrm>
              <a:off x="8599958" y="6222452"/>
              <a:ext cx="895154" cy="824666"/>
            </a:xfrm>
            <a:prstGeom prst="ellipse">
              <a:avLst/>
            </a:prstGeom>
            <a:blipFill rotWithShape="1"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44000" r="-44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29" name="Группа 28"/>
          <p:cNvGrpSpPr/>
          <p:nvPr/>
        </p:nvGrpSpPr>
        <p:grpSpPr>
          <a:xfrm>
            <a:off x="4689090" y="1878161"/>
            <a:ext cx="3292861" cy="1081279"/>
            <a:chOff x="10403767" y="4404948"/>
            <a:chExt cx="2749199" cy="942798"/>
          </a:xfrm>
        </p:grpSpPr>
        <p:sp>
          <p:nvSpPr>
            <p:cNvPr id="30" name="Полилиния 29"/>
            <p:cNvSpPr/>
            <p:nvPr/>
          </p:nvSpPr>
          <p:spPr>
            <a:xfrm>
              <a:off x="10728084" y="4688658"/>
              <a:ext cx="2424882" cy="659088"/>
            </a:xfrm>
            <a:custGeom>
              <a:avLst/>
              <a:gdLst>
                <a:gd name="connsiteX0" fmla="*/ 0 w 2653369"/>
                <a:gd name="connsiteY0" fmla="*/ 118602 h 711600"/>
                <a:gd name="connsiteX1" fmla="*/ 118602 w 2653369"/>
                <a:gd name="connsiteY1" fmla="*/ 0 h 711600"/>
                <a:gd name="connsiteX2" fmla="*/ 2534767 w 2653369"/>
                <a:gd name="connsiteY2" fmla="*/ 0 h 711600"/>
                <a:gd name="connsiteX3" fmla="*/ 2653369 w 2653369"/>
                <a:gd name="connsiteY3" fmla="*/ 118602 h 711600"/>
                <a:gd name="connsiteX4" fmla="*/ 2653369 w 2653369"/>
                <a:gd name="connsiteY4" fmla="*/ 592998 h 711600"/>
                <a:gd name="connsiteX5" fmla="*/ 2534767 w 2653369"/>
                <a:gd name="connsiteY5" fmla="*/ 711600 h 711600"/>
                <a:gd name="connsiteX6" fmla="*/ 118602 w 2653369"/>
                <a:gd name="connsiteY6" fmla="*/ 711600 h 711600"/>
                <a:gd name="connsiteX7" fmla="*/ 0 w 2653369"/>
                <a:gd name="connsiteY7" fmla="*/ 592998 h 711600"/>
                <a:gd name="connsiteX8" fmla="*/ 0 w 2653369"/>
                <a:gd name="connsiteY8" fmla="*/ 118602 h 7116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53369" h="711600">
                  <a:moveTo>
                    <a:pt x="0" y="118602"/>
                  </a:moveTo>
                  <a:cubicBezTo>
                    <a:pt x="0" y="53100"/>
                    <a:pt x="53100" y="0"/>
                    <a:pt x="118602" y="0"/>
                  </a:cubicBezTo>
                  <a:lnTo>
                    <a:pt x="2534767" y="0"/>
                  </a:lnTo>
                  <a:cubicBezTo>
                    <a:pt x="2600269" y="0"/>
                    <a:pt x="2653369" y="53100"/>
                    <a:pt x="2653369" y="118602"/>
                  </a:cubicBezTo>
                  <a:lnTo>
                    <a:pt x="2653369" y="592998"/>
                  </a:lnTo>
                  <a:cubicBezTo>
                    <a:pt x="2653369" y="658500"/>
                    <a:pt x="2600269" y="711600"/>
                    <a:pt x="2534767" y="711600"/>
                  </a:cubicBezTo>
                  <a:lnTo>
                    <a:pt x="118602" y="711600"/>
                  </a:lnTo>
                  <a:cubicBezTo>
                    <a:pt x="53100" y="711600"/>
                    <a:pt x="0" y="658500"/>
                    <a:pt x="0" y="592998"/>
                  </a:cubicBezTo>
                  <a:lnTo>
                    <a:pt x="0" y="118602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596367" tIns="88077" rIns="88077" bIns="88077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 Грузинский лари </a:t>
              </a:r>
            </a:p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(</a:t>
              </a:r>
              <a:r>
                <a:rPr lang="en-US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GEL</a:t>
              </a:r>
              <a:r>
                <a:rPr lang="ru-RU" sz="1200" b="1" dirty="0" smtClean="0">
                  <a:solidFill>
                    <a:schemeClr val="bg1"/>
                  </a:solidFill>
                  <a:latin typeface="Formular" panose="02000000000000000000" pitchFamily="2" charset="-52"/>
                  <a:sym typeface="Helvetica Neue"/>
                </a:rPr>
                <a:t>)</a:t>
              </a:r>
              <a:endParaRPr lang="ru-RU" sz="1200" b="1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31" name="Овал 30"/>
            <p:cNvSpPr/>
            <p:nvPr/>
          </p:nvSpPr>
          <p:spPr>
            <a:xfrm>
              <a:off x="10403767" y="4404948"/>
              <a:ext cx="867045" cy="942798"/>
            </a:xfrm>
            <a:prstGeom prst="ellipse">
              <a:avLst/>
            </a:prstGeom>
            <a:blipFill dpi="0" rotWithShape="1">
              <a:blip r:embed="rId9"/>
              <a:srcRect/>
              <a:stretch>
                <a:fillRect l="-21000" r="-51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32" name="Полилиния 31"/>
          <p:cNvSpPr/>
          <p:nvPr/>
        </p:nvSpPr>
        <p:spPr>
          <a:xfrm>
            <a:off x="5347973" y="3722337"/>
            <a:ext cx="2633978" cy="788305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Индийская рупия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(</a:t>
            </a:r>
            <a:r>
              <a:rPr lang="en-US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INR)</a:t>
            </a:r>
            <a:endParaRPr lang="ru-RU" sz="1200" kern="1200" dirty="0">
              <a:solidFill>
                <a:schemeClr val="bg1"/>
              </a:solidFill>
              <a:latin typeface="Formular" panose="02000000000000000000" pitchFamily="2" charset="-52"/>
            </a:endParaRPr>
          </a:p>
        </p:txBody>
      </p:sp>
      <p:sp>
        <p:nvSpPr>
          <p:cNvPr id="33" name="Полилиния 32"/>
          <p:cNvSpPr/>
          <p:nvPr/>
        </p:nvSpPr>
        <p:spPr>
          <a:xfrm>
            <a:off x="5477777" y="5089977"/>
            <a:ext cx="2504174" cy="842998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Болгарский Лев</a:t>
            </a:r>
          </a:p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kern="1200" dirty="0" smtClean="0">
                <a:solidFill>
                  <a:schemeClr val="bg1"/>
                </a:solidFill>
                <a:latin typeface="Formular" panose="02000000000000000000" pitchFamily="2" charset="-52"/>
              </a:rPr>
              <a:t>(</a:t>
            </a:r>
            <a:r>
              <a:rPr lang="en-US" sz="1200" b="1" kern="1200" dirty="0" smtClean="0">
                <a:solidFill>
                  <a:schemeClr val="bg1"/>
                </a:solidFill>
                <a:latin typeface="Formular" panose="02000000000000000000" pitchFamily="2" charset="-52"/>
              </a:rPr>
              <a:t>BGN</a:t>
            </a:r>
            <a:r>
              <a:rPr lang="ru-RU" sz="1200" b="1" kern="1200" dirty="0" smtClean="0">
                <a:solidFill>
                  <a:schemeClr val="bg1"/>
                </a:solidFill>
                <a:latin typeface="Formular" panose="02000000000000000000" pitchFamily="2" charset="-52"/>
              </a:rPr>
              <a:t>)</a:t>
            </a:r>
            <a:endParaRPr lang="ru-RU" sz="1200" kern="1200" dirty="0">
              <a:solidFill>
                <a:schemeClr val="bg1"/>
              </a:solidFill>
              <a:latin typeface="Formular" panose="02000000000000000000" pitchFamily="2" charset="-52"/>
            </a:endParaRP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352137" y="4827546"/>
            <a:ext cx="1375459" cy="121383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35" name="Полилиния 34"/>
          <p:cNvSpPr/>
          <p:nvPr/>
        </p:nvSpPr>
        <p:spPr>
          <a:xfrm>
            <a:off x="9446128" y="2203543"/>
            <a:ext cx="2455380" cy="755897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>
                <a:solidFill>
                  <a:schemeClr val="bg1"/>
                </a:solidFill>
                <a:latin typeface="Formular" panose="02000000000000000000" pitchFamily="2" charset="-52"/>
              </a:rPr>
              <a:t>Бразильский реал (</a:t>
            </a:r>
            <a:r>
              <a:rPr lang="en-US" sz="1200" b="1" dirty="0">
                <a:solidFill>
                  <a:schemeClr val="bg1"/>
                </a:solidFill>
                <a:latin typeface="Formular" panose="02000000000000000000" pitchFamily="2" charset="-52"/>
              </a:rPr>
              <a:t>BRL)</a:t>
            </a:r>
            <a:endParaRPr lang="ru-RU" sz="1200" b="1" dirty="0">
              <a:solidFill>
                <a:schemeClr val="bg1"/>
              </a:solidFill>
              <a:latin typeface="Formular" panose="02000000000000000000" pitchFamily="2" charset="-52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9446128" y="3722338"/>
            <a:ext cx="2455380" cy="788304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lvl="0" algn="ctr"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Таджикский </a:t>
            </a:r>
            <a:r>
              <a:rPr lang="ru-RU" sz="1200" b="1" dirty="0" err="1" smtClean="0">
                <a:solidFill>
                  <a:schemeClr val="bg1"/>
                </a:solidFill>
                <a:latin typeface="Formular" panose="02000000000000000000" pitchFamily="2" charset="-52"/>
              </a:rPr>
              <a:t>сомони</a:t>
            </a:r>
            <a:r>
              <a:rPr lang="ru-RU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 (</a:t>
            </a:r>
            <a:r>
              <a:rPr lang="en-US" sz="1200" b="1" dirty="0" smtClean="0">
                <a:solidFill>
                  <a:schemeClr val="bg1"/>
                </a:solidFill>
                <a:latin typeface="Formular" panose="02000000000000000000" pitchFamily="2" charset="-52"/>
              </a:rPr>
              <a:t>TIS)</a:t>
            </a:r>
            <a:endParaRPr lang="ru-RU" sz="1200" kern="1200" dirty="0">
              <a:solidFill>
                <a:schemeClr val="bg1"/>
              </a:solidFill>
              <a:latin typeface="Formular" panose="02000000000000000000" pitchFamily="2" charset="-52"/>
            </a:endParaRPr>
          </a:p>
        </p:txBody>
      </p:sp>
      <p:pic>
        <p:nvPicPr>
          <p:cNvPr id="38" name="Рисунок 37"/>
          <p:cNvPicPr>
            <a:picLocks noChangeAspect="1"/>
          </p:cNvPicPr>
          <p:nvPr/>
        </p:nvPicPr>
        <p:blipFill rotWithShape="1">
          <a:blip r:embed="rId11"/>
          <a:srcRect l="1" r="5932" b="6598"/>
          <a:stretch/>
        </p:blipFill>
        <p:spPr>
          <a:xfrm>
            <a:off x="8426282" y="3391826"/>
            <a:ext cx="1371220" cy="1309415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39" name="Объект 39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4479076" y="3369503"/>
            <a:ext cx="1160755" cy="134555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7" name="Rectangle 2"/>
          <p:cNvSpPr txBox="1">
            <a:spLocks noChangeArrowheads="1"/>
          </p:cNvSpPr>
          <p:nvPr/>
        </p:nvSpPr>
        <p:spPr bwMode="gray">
          <a:xfrm>
            <a:off x="2270013" y="900507"/>
            <a:ext cx="783601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algn="ctr" defTabSz="932962" eaLnBrk="1" hangingPunct="1"/>
            <a:r>
              <a:rPr lang="ru-RU" altLang="ru-RU" sz="2000" kern="0" dirty="0" smtClean="0">
                <a:solidFill>
                  <a:srgbClr val="FF0000"/>
                </a:solidFill>
                <a:latin typeface="Formular" panose="02000000000000000000"/>
              </a:rPr>
              <a:t>Исходящие и входящие платежи в данных валютах осуществляются Банком без ограничений</a:t>
            </a:r>
          </a:p>
        </p:txBody>
      </p:sp>
      <p:pic>
        <p:nvPicPr>
          <p:cNvPr id="40" name="Рисунок 39"/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604917" y="1878161"/>
            <a:ext cx="1263385" cy="1234508"/>
          </a:xfrm>
          <a:prstGeom prst="ellipse">
            <a:avLst/>
          </a:prstGeom>
          <a:ln>
            <a:solidFill>
              <a:schemeClr val="bg1"/>
            </a:solidFill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1404100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1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pSp>
        <p:nvGrpSpPr>
          <p:cNvPr id="8" name="Группа 7"/>
          <p:cNvGrpSpPr/>
          <p:nvPr/>
        </p:nvGrpSpPr>
        <p:grpSpPr>
          <a:xfrm>
            <a:off x="923203" y="692332"/>
            <a:ext cx="3363047" cy="1080489"/>
            <a:chOff x="-1398358" y="1548045"/>
            <a:chExt cx="4371013" cy="1651790"/>
          </a:xfrm>
        </p:grpSpPr>
        <p:sp>
          <p:nvSpPr>
            <p:cNvPr id="9" name="Полилиния 8"/>
            <p:cNvSpPr/>
            <p:nvPr/>
          </p:nvSpPr>
          <p:spPr>
            <a:xfrm>
              <a:off x="-219706" y="2076346"/>
              <a:ext cx="3192361" cy="1080219"/>
            </a:xfrm>
            <a:custGeom>
              <a:avLst/>
              <a:gdLst>
                <a:gd name="connsiteX0" fmla="*/ 0 w 2794854"/>
                <a:gd name="connsiteY0" fmla="*/ 124927 h 749545"/>
                <a:gd name="connsiteX1" fmla="*/ 124927 w 2794854"/>
                <a:gd name="connsiteY1" fmla="*/ 0 h 749545"/>
                <a:gd name="connsiteX2" fmla="*/ 2669927 w 2794854"/>
                <a:gd name="connsiteY2" fmla="*/ 0 h 749545"/>
                <a:gd name="connsiteX3" fmla="*/ 2794854 w 2794854"/>
                <a:gd name="connsiteY3" fmla="*/ 124927 h 749545"/>
                <a:gd name="connsiteX4" fmla="*/ 2794854 w 2794854"/>
                <a:gd name="connsiteY4" fmla="*/ 624618 h 749545"/>
                <a:gd name="connsiteX5" fmla="*/ 2669927 w 2794854"/>
                <a:gd name="connsiteY5" fmla="*/ 749545 h 749545"/>
                <a:gd name="connsiteX6" fmla="*/ 124927 w 2794854"/>
                <a:gd name="connsiteY6" fmla="*/ 749545 h 749545"/>
                <a:gd name="connsiteX7" fmla="*/ 0 w 2794854"/>
                <a:gd name="connsiteY7" fmla="*/ 624618 h 749545"/>
                <a:gd name="connsiteX8" fmla="*/ 0 w 2794854"/>
                <a:gd name="connsiteY8" fmla="*/ 124927 h 74954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794854" h="749545">
                  <a:moveTo>
                    <a:pt x="0" y="124927"/>
                  </a:moveTo>
                  <a:cubicBezTo>
                    <a:pt x="0" y="55932"/>
                    <a:pt x="55932" y="0"/>
                    <a:pt x="124927" y="0"/>
                  </a:cubicBezTo>
                  <a:lnTo>
                    <a:pt x="2669927" y="0"/>
                  </a:lnTo>
                  <a:cubicBezTo>
                    <a:pt x="2738922" y="0"/>
                    <a:pt x="2794854" y="55932"/>
                    <a:pt x="2794854" y="124927"/>
                  </a:cubicBezTo>
                  <a:lnTo>
                    <a:pt x="2794854" y="624618"/>
                  </a:lnTo>
                  <a:cubicBezTo>
                    <a:pt x="2794854" y="693613"/>
                    <a:pt x="2738922" y="749545"/>
                    <a:pt x="2669927" y="749545"/>
                  </a:cubicBezTo>
                  <a:lnTo>
                    <a:pt x="124927" y="749545"/>
                  </a:lnTo>
                  <a:cubicBezTo>
                    <a:pt x="55932" y="749545"/>
                    <a:pt x="0" y="693613"/>
                    <a:pt x="0" y="624618"/>
                  </a:cubicBezTo>
                  <a:lnTo>
                    <a:pt x="0" y="124927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28168" tIns="89930" rIns="89930" bIns="89930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Китайский</a:t>
              </a:r>
              <a:r>
                <a:rPr lang="ru-RU" sz="1200" b="1" dirty="0">
                  <a:solidFill>
                    <a:schemeClr val="bg1"/>
                  </a:solidFill>
                  <a:latin typeface="Formular" panose="02000000000000000000" pitchFamily="2" charset="-52"/>
                </a:rPr>
                <a:t> 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юань</a:t>
              </a:r>
              <a:r>
                <a:rPr lang="en-US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 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(</a:t>
              </a:r>
              <a:r>
                <a:rPr lang="en-US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CNY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)</a:t>
              </a:r>
              <a:endParaRPr lang="ru-RU" sz="1200" b="1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10" name="Овал 9"/>
            <p:cNvSpPr/>
            <p:nvPr/>
          </p:nvSpPr>
          <p:spPr>
            <a:xfrm>
              <a:off x="-1398358" y="1548045"/>
              <a:ext cx="1651541" cy="1651790"/>
            </a:xfrm>
            <a:prstGeom prst="ellipse">
              <a:avLst/>
            </a:prstGeom>
            <a:blipFill dpi="0" rotWithShape="1">
              <a:blip r:embed="rId5"/>
              <a:srcRect/>
              <a:stretch>
                <a:fillRect l="-49000" r="-9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grpSp>
        <p:nvGrpSpPr>
          <p:cNvPr id="11" name="Группа 10"/>
          <p:cNvGrpSpPr/>
          <p:nvPr/>
        </p:nvGrpSpPr>
        <p:grpSpPr>
          <a:xfrm>
            <a:off x="6976912" y="759857"/>
            <a:ext cx="3176738" cy="1135676"/>
            <a:chOff x="4707624" y="8550644"/>
            <a:chExt cx="2381277" cy="923722"/>
          </a:xfrm>
        </p:grpSpPr>
        <p:sp>
          <p:nvSpPr>
            <p:cNvPr id="12" name="Полилиния 11"/>
            <p:cNvSpPr/>
            <p:nvPr/>
          </p:nvSpPr>
          <p:spPr>
            <a:xfrm>
              <a:off x="5322718" y="8801211"/>
              <a:ext cx="1766183" cy="563532"/>
            </a:xfrm>
            <a:custGeom>
              <a:avLst/>
              <a:gdLst>
                <a:gd name="connsiteX0" fmla="*/ 0 w 2676815"/>
                <a:gd name="connsiteY0" fmla="*/ 119650 h 717888"/>
                <a:gd name="connsiteX1" fmla="*/ 119650 w 2676815"/>
                <a:gd name="connsiteY1" fmla="*/ 0 h 717888"/>
                <a:gd name="connsiteX2" fmla="*/ 2557165 w 2676815"/>
                <a:gd name="connsiteY2" fmla="*/ 0 h 717888"/>
                <a:gd name="connsiteX3" fmla="*/ 2676815 w 2676815"/>
                <a:gd name="connsiteY3" fmla="*/ 119650 h 717888"/>
                <a:gd name="connsiteX4" fmla="*/ 2676815 w 2676815"/>
                <a:gd name="connsiteY4" fmla="*/ 598238 h 717888"/>
                <a:gd name="connsiteX5" fmla="*/ 2557165 w 2676815"/>
                <a:gd name="connsiteY5" fmla="*/ 717888 h 717888"/>
                <a:gd name="connsiteX6" fmla="*/ 119650 w 2676815"/>
                <a:gd name="connsiteY6" fmla="*/ 717888 h 717888"/>
                <a:gd name="connsiteX7" fmla="*/ 0 w 2676815"/>
                <a:gd name="connsiteY7" fmla="*/ 598238 h 717888"/>
                <a:gd name="connsiteX8" fmla="*/ 0 w 2676815"/>
                <a:gd name="connsiteY8" fmla="*/ 119650 h 71788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2676815" h="717888">
                  <a:moveTo>
                    <a:pt x="0" y="119650"/>
                  </a:moveTo>
                  <a:cubicBezTo>
                    <a:pt x="0" y="53569"/>
                    <a:pt x="53569" y="0"/>
                    <a:pt x="119650" y="0"/>
                  </a:cubicBezTo>
                  <a:lnTo>
                    <a:pt x="2557165" y="0"/>
                  </a:lnTo>
                  <a:cubicBezTo>
                    <a:pt x="2623246" y="0"/>
                    <a:pt x="2676815" y="53569"/>
                    <a:pt x="2676815" y="119650"/>
                  </a:cubicBezTo>
                  <a:lnTo>
                    <a:pt x="2676815" y="598238"/>
                  </a:lnTo>
                  <a:cubicBezTo>
                    <a:pt x="2676815" y="664319"/>
                    <a:pt x="2623246" y="717888"/>
                    <a:pt x="2557165" y="717888"/>
                  </a:cubicBezTo>
                  <a:lnTo>
                    <a:pt x="119650" y="717888"/>
                  </a:lnTo>
                  <a:cubicBezTo>
                    <a:pt x="53569" y="717888"/>
                    <a:pt x="0" y="664319"/>
                    <a:pt x="0" y="598238"/>
                  </a:cubicBezTo>
                  <a:lnTo>
                    <a:pt x="0" y="119650"/>
                  </a:lnTo>
                  <a:close/>
                </a:path>
              </a:pathLst>
            </a:custGeom>
            <a:solidFill>
              <a:srgbClr val="01438A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601637" tIns="88384" rIns="88384" bIns="8838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Турецкая лира (</a:t>
              </a:r>
              <a:r>
                <a:rPr lang="en-US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TRY</a:t>
              </a:r>
              <a:r>
                <a:rPr lang="ru-RU" sz="1200" b="1" kern="1200" dirty="0" smtClean="0">
                  <a:solidFill>
                    <a:schemeClr val="bg1"/>
                  </a:solidFill>
                  <a:latin typeface="Formular" panose="02000000000000000000" pitchFamily="2" charset="-52"/>
                </a:rPr>
                <a:t>)</a:t>
              </a:r>
              <a:endParaRPr lang="ru-RU" sz="1200" kern="1200" dirty="0">
                <a:solidFill>
                  <a:schemeClr val="bg1"/>
                </a:solidFill>
                <a:latin typeface="Formular" panose="02000000000000000000" pitchFamily="2" charset="-52"/>
              </a:endParaRPr>
            </a:p>
          </p:txBody>
        </p:sp>
        <p:sp>
          <p:nvSpPr>
            <p:cNvPr id="14" name="Овал 13"/>
            <p:cNvSpPr/>
            <p:nvPr/>
          </p:nvSpPr>
          <p:spPr>
            <a:xfrm>
              <a:off x="4707624" y="8550644"/>
              <a:ext cx="949396" cy="923722"/>
            </a:xfrm>
            <a:prstGeom prst="ellipse">
              <a:avLst/>
            </a:prstGeom>
            <a:blipFill dpi="0" rotWithShape="1"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 l="-23000" r="-33000" b="-3000"/>
              </a:stretch>
            </a:blip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42" name="Скругленный прямоугольник 4"/>
          <p:cNvSpPr txBox="1"/>
          <p:nvPr/>
        </p:nvSpPr>
        <p:spPr>
          <a:xfrm>
            <a:off x="3039477" y="3995092"/>
            <a:ext cx="4682670" cy="584715"/>
          </a:xfrm>
          <a:prstGeom prst="rect">
            <a:avLst/>
          </a:prstGeom>
          <a:solidFill>
            <a:srgbClr val="960000"/>
          </a:solidFill>
          <a:ln>
            <a:solidFill>
              <a:schemeClr val="accent6">
                <a:lumMod val="5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32410" tIns="232410" rIns="232410" bIns="232410" numCol="1" spcCol="1270" anchor="ctr" anchorCtr="0">
            <a:noAutofit/>
          </a:bodyPr>
          <a:lstStyle/>
          <a:p>
            <a:pPr lvl="0" algn="ctr" defTabSz="27114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600" b="1" dirty="0">
                <a:solidFill>
                  <a:schemeClr val="bg1"/>
                </a:solidFill>
              </a:rPr>
              <a:t>Т</a:t>
            </a:r>
            <a:r>
              <a:rPr lang="ru-RU" sz="1600" b="1" dirty="0" smtClean="0">
                <a:solidFill>
                  <a:schemeClr val="bg1"/>
                </a:solidFill>
              </a:rPr>
              <a:t>олько исходящие платежи</a:t>
            </a:r>
            <a:endParaRPr lang="ru-RU" sz="1600" b="1" kern="1200" dirty="0">
              <a:solidFill>
                <a:schemeClr val="bg1"/>
              </a:solidFill>
            </a:endParaRPr>
          </a:p>
        </p:txBody>
      </p:sp>
      <p:sp>
        <p:nvSpPr>
          <p:cNvPr id="43" name="Полилиния 42"/>
          <p:cNvSpPr/>
          <p:nvPr/>
        </p:nvSpPr>
        <p:spPr>
          <a:xfrm>
            <a:off x="2415358" y="5280485"/>
            <a:ext cx="2390543" cy="485591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b="1" dirty="0">
                <a:solidFill>
                  <a:srgbClr val="FFFFFF"/>
                </a:solidFill>
                <a:latin typeface="QKFBLV+Calibri Bold"/>
                <a:cs typeface="QKFBLV+Calibri Bold"/>
              </a:rPr>
              <a:t>Доллар</a:t>
            </a:r>
            <a:r>
              <a:rPr lang="ru-RU" sz="900" b="1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ru-RU" sz="900" b="1" dirty="0">
                <a:solidFill>
                  <a:srgbClr val="FFFFFF"/>
                </a:solidFill>
                <a:latin typeface="QKFBLV+Calibri Bold"/>
                <a:cs typeface="QKFBLV+Calibri Bold"/>
              </a:rPr>
              <a:t>США</a:t>
            </a:r>
            <a:r>
              <a:rPr lang="ru-RU" sz="900" b="1" spc="14" dirty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ru-RU" sz="900" dirty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(</a:t>
            </a:r>
            <a:r>
              <a:rPr lang="en-US" sz="900" dirty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USD</a:t>
            </a:r>
            <a:r>
              <a:rPr lang="en-US" sz="900" dirty="0" smtClean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)</a:t>
            </a:r>
            <a:endParaRPr lang="en-US" sz="900" dirty="0">
              <a:solidFill>
                <a:srgbClr val="FFFFFF"/>
              </a:solidFill>
              <a:latin typeface="KKDQGL+Tw Cen MT Condensed Extra Bold"/>
              <a:cs typeface="KKDQGL+Tw Cen MT Condensed Extra Bold"/>
            </a:endParaRPr>
          </a:p>
        </p:txBody>
      </p:sp>
      <p:sp>
        <p:nvSpPr>
          <p:cNvPr id="44" name="Полилиния 43"/>
          <p:cNvSpPr/>
          <p:nvPr/>
        </p:nvSpPr>
        <p:spPr>
          <a:xfrm>
            <a:off x="6307355" y="5271978"/>
            <a:ext cx="2390543" cy="485591"/>
          </a:xfrm>
          <a:custGeom>
            <a:avLst/>
            <a:gdLst>
              <a:gd name="connsiteX0" fmla="*/ 0 w 2676815"/>
              <a:gd name="connsiteY0" fmla="*/ 119650 h 717888"/>
              <a:gd name="connsiteX1" fmla="*/ 119650 w 2676815"/>
              <a:gd name="connsiteY1" fmla="*/ 0 h 717888"/>
              <a:gd name="connsiteX2" fmla="*/ 2557165 w 2676815"/>
              <a:gd name="connsiteY2" fmla="*/ 0 h 717888"/>
              <a:gd name="connsiteX3" fmla="*/ 2676815 w 2676815"/>
              <a:gd name="connsiteY3" fmla="*/ 119650 h 717888"/>
              <a:gd name="connsiteX4" fmla="*/ 2676815 w 2676815"/>
              <a:gd name="connsiteY4" fmla="*/ 598238 h 717888"/>
              <a:gd name="connsiteX5" fmla="*/ 2557165 w 2676815"/>
              <a:gd name="connsiteY5" fmla="*/ 717888 h 717888"/>
              <a:gd name="connsiteX6" fmla="*/ 119650 w 2676815"/>
              <a:gd name="connsiteY6" fmla="*/ 717888 h 717888"/>
              <a:gd name="connsiteX7" fmla="*/ 0 w 2676815"/>
              <a:gd name="connsiteY7" fmla="*/ 598238 h 717888"/>
              <a:gd name="connsiteX8" fmla="*/ 0 w 2676815"/>
              <a:gd name="connsiteY8" fmla="*/ 119650 h 71788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2676815" h="717888">
                <a:moveTo>
                  <a:pt x="0" y="119650"/>
                </a:moveTo>
                <a:cubicBezTo>
                  <a:pt x="0" y="53569"/>
                  <a:pt x="53569" y="0"/>
                  <a:pt x="119650" y="0"/>
                </a:cubicBezTo>
                <a:lnTo>
                  <a:pt x="2557165" y="0"/>
                </a:lnTo>
                <a:cubicBezTo>
                  <a:pt x="2623246" y="0"/>
                  <a:pt x="2676815" y="53569"/>
                  <a:pt x="2676815" y="119650"/>
                </a:cubicBezTo>
                <a:lnTo>
                  <a:pt x="2676815" y="598238"/>
                </a:lnTo>
                <a:cubicBezTo>
                  <a:pt x="2676815" y="664319"/>
                  <a:pt x="2623246" y="717888"/>
                  <a:pt x="2557165" y="717888"/>
                </a:cubicBezTo>
                <a:lnTo>
                  <a:pt x="119650" y="717888"/>
                </a:lnTo>
                <a:cubicBezTo>
                  <a:pt x="53569" y="717888"/>
                  <a:pt x="0" y="664319"/>
                  <a:pt x="0" y="598238"/>
                </a:cubicBezTo>
                <a:lnTo>
                  <a:pt x="0" y="119650"/>
                </a:lnTo>
                <a:close/>
              </a:path>
            </a:pathLst>
          </a:custGeom>
          <a:solidFill>
            <a:srgbClr val="01438A"/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601637" tIns="88384" rIns="88384" bIns="88384" numCol="1" spcCol="1270" anchor="ctr" anchorCtr="0">
            <a:noAutofit/>
          </a:bodyPr>
          <a:lstStyle/>
          <a:p>
            <a:pPr defTabSz="6223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900" b="1" dirty="0" smtClean="0">
                <a:solidFill>
                  <a:srgbClr val="FFFFFF"/>
                </a:solidFill>
                <a:latin typeface="QKFBLV+Calibri Bold"/>
                <a:cs typeface="QKFBLV+Calibri Bold"/>
              </a:rPr>
              <a:t>          Евро</a:t>
            </a:r>
            <a:r>
              <a:rPr lang="ru-RU" sz="900" b="1" spc="-13" dirty="0" smtClean="0">
                <a:solidFill>
                  <a:srgbClr val="FFFFFF"/>
                </a:solidFill>
                <a:latin typeface="Times New Roman"/>
                <a:cs typeface="Times New Roman"/>
              </a:rPr>
              <a:t> </a:t>
            </a:r>
            <a:r>
              <a:rPr lang="ru-RU" sz="900" dirty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(</a:t>
            </a:r>
            <a:r>
              <a:rPr lang="en-US" sz="900" dirty="0" smtClean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EUR</a:t>
            </a:r>
            <a:r>
              <a:rPr lang="ru-RU" sz="900" dirty="0" smtClean="0">
                <a:solidFill>
                  <a:srgbClr val="FFFFFF"/>
                </a:solidFill>
                <a:latin typeface="KKDQGL+Tw Cen MT Condensed Extra Bold"/>
                <a:cs typeface="KKDQGL+Tw Cen MT Condensed Extra Bold"/>
              </a:rPr>
              <a:t>)</a:t>
            </a:r>
            <a:endParaRPr lang="en-US" sz="900" dirty="0">
              <a:solidFill>
                <a:srgbClr val="FFFFFF"/>
              </a:solidFill>
              <a:latin typeface="KKDQGL+Tw Cen MT Condensed Extra Bold"/>
              <a:cs typeface="KKDQGL+Tw Cen MT Condensed Extra Bold"/>
            </a:endParaRPr>
          </a:p>
        </p:txBody>
      </p:sp>
      <p:pic>
        <p:nvPicPr>
          <p:cNvPr id="45" name="Рисунок 4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34617" y="4795765"/>
            <a:ext cx="1171065" cy="970311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46" name="Рисунок 4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8265322" y="4742467"/>
            <a:ext cx="1500864" cy="963393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48" name="Rectangle 2"/>
          <p:cNvSpPr txBox="1">
            <a:spLocks noChangeArrowheads="1"/>
          </p:cNvSpPr>
          <p:nvPr/>
        </p:nvSpPr>
        <p:spPr bwMode="gray">
          <a:xfrm>
            <a:off x="5934074" y="2475180"/>
            <a:ext cx="5189645" cy="64633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algn="ctr" defTabSz="932962" eaLnBrk="1" hangingPunct="1"/>
            <a:r>
              <a:rPr lang="ru-RU" altLang="ru-RU" sz="1400" kern="0" dirty="0">
                <a:solidFill>
                  <a:srgbClr val="FF0000"/>
                </a:solidFill>
                <a:latin typeface="Formular" panose="02000000000000000000"/>
              </a:rPr>
              <a:t>Проходят только </a:t>
            </a:r>
            <a:r>
              <a:rPr lang="ru-RU" altLang="ru-RU" sz="1400" kern="0" dirty="0">
                <a:latin typeface="Formular" panose="02000000000000000000"/>
              </a:rPr>
              <a:t>исходящие и входящие платежи, связанные с </a:t>
            </a:r>
            <a:r>
              <a:rPr lang="ru-RU" altLang="ru-RU" sz="1400" kern="0" dirty="0">
                <a:solidFill>
                  <a:srgbClr val="FF0000"/>
                </a:solidFill>
                <a:latin typeface="Formular" panose="02000000000000000000"/>
              </a:rPr>
              <a:t>продуктами питания и </a:t>
            </a:r>
            <a:r>
              <a:rPr lang="ru-RU" altLang="ru-RU" sz="1400" kern="0" dirty="0" err="1">
                <a:solidFill>
                  <a:srgbClr val="FF0000"/>
                </a:solidFill>
                <a:latin typeface="Formular" panose="02000000000000000000"/>
              </a:rPr>
              <a:t>агропродукцией</a:t>
            </a:r>
            <a:r>
              <a:rPr lang="ru-RU" altLang="ru-RU" sz="1400" kern="0" dirty="0">
                <a:solidFill>
                  <a:srgbClr val="FF0000"/>
                </a:solidFill>
                <a:latin typeface="Formular" panose="02000000000000000000"/>
              </a:rPr>
              <a:t>/сельхозпродукцией</a:t>
            </a:r>
          </a:p>
        </p:txBody>
      </p:sp>
      <p:sp>
        <p:nvSpPr>
          <p:cNvPr id="50" name="Rectangle 2"/>
          <p:cNvSpPr txBox="1">
            <a:spLocks noChangeArrowheads="1"/>
          </p:cNvSpPr>
          <p:nvPr/>
        </p:nvSpPr>
        <p:spPr bwMode="gray">
          <a:xfrm>
            <a:off x="380688" y="2500679"/>
            <a:ext cx="4768361" cy="64633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algn="ctr" defTabSz="932962" eaLnBrk="1" hangingPunct="1"/>
            <a:r>
              <a:rPr lang="ru-RU" altLang="ru-RU" sz="1400" kern="0" dirty="0" smtClean="0">
                <a:latin typeface="Formular" panose="02000000000000000000"/>
              </a:rPr>
              <a:t>Без ограничений, </a:t>
            </a:r>
            <a:r>
              <a:rPr lang="ru-RU" altLang="ru-RU" sz="1400" kern="0" dirty="0">
                <a:solidFill>
                  <a:srgbClr val="FF0000"/>
                </a:solidFill>
                <a:latin typeface="Formular" panose="02000000000000000000"/>
              </a:rPr>
              <a:t>кроме исходящих и входящих платежей в пользу банков</a:t>
            </a:r>
            <a:r>
              <a:rPr lang="en-US" altLang="ru-RU" sz="1400" kern="0" dirty="0">
                <a:solidFill>
                  <a:srgbClr val="FF0000"/>
                </a:solidFill>
                <a:latin typeface="Formular" panose="02000000000000000000"/>
              </a:rPr>
              <a:t>:</a:t>
            </a:r>
            <a:r>
              <a:rPr lang="ru-RU" altLang="ru-RU" sz="1400" kern="0" dirty="0">
                <a:solidFill>
                  <a:srgbClr val="FF0000"/>
                </a:solidFill>
                <a:latin typeface="Formular" panose="02000000000000000000"/>
              </a:rPr>
              <a:t> ЕС, США, Швейцарии, Великобритании, ОАЭ,  Южной Кореи , </a:t>
            </a:r>
            <a:r>
              <a:rPr lang="ru-RU" altLang="ru-RU" sz="1400" kern="0" dirty="0" smtClean="0">
                <a:solidFill>
                  <a:srgbClr val="FF0000"/>
                </a:solidFill>
                <a:latin typeface="Formular" panose="02000000000000000000"/>
              </a:rPr>
              <a:t>Японии.</a:t>
            </a:r>
            <a:endParaRPr lang="ru-RU" altLang="ru-RU" sz="1400" kern="0" dirty="0">
              <a:solidFill>
                <a:srgbClr val="FF0000"/>
              </a:solidFill>
              <a:latin typeface="Formular" panose="02000000000000000000"/>
            </a:endParaRPr>
          </a:p>
        </p:txBody>
      </p:sp>
      <p:sp>
        <p:nvSpPr>
          <p:cNvPr id="52" name="Rectangle 2"/>
          <p:cNvSpPr txBox="1">
            <a:spLocks noChangeArrowheads="1"/>
          </p:cNvSpPr>
          <p:nvPr/>
        </p:nvSpPr>
        <p:spPr bwMode="gray">
          <a:xfrm>
            <a:off x="1980377" y="6074865"/>
            <a:ext cx="7785809" cy="646331"/>
          </a:xfrm>
          <a:prstGeom prst="rect">
            <a:avLst/>
          </a:prstGeom>
          <a:noFill/>
          <a:ln w="9525" cap="flat" cmpd="sng" algn="ctr">
            <a:solidFill>
              <a:srgbClr val="000000"/>
            </a:solidFill>
            <a:prstDash val="solid"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algn="ctr" defTabSz="932962" eaLnBrk="1" hangingPunct="1"/>
            <a:r>
              <a:rPr lang="ru-RU" altLang="ru-RU" sz="1400" kern="0" dirty="0" smtClean="0">
                <a:solidFill>
                  <a:srgbClr val="FF0000"/>
                </a:solidFill>
                <a:latin typeface="Formular" panose="02000000000000000000"/>
              </a:rPr>
              <a:t>Ограниченный списков банков:</a:t>
            </a:r>
          </a:p>
          <a:p>
            <a:pPr marL="3239" algn="ctr" defTabSz="932962" eaLnBrk="1" hangingPunct="1"/>
            <a:r>
              <a:rPr lang="ru-RU" altLang="ru-RU" sz="1400" kern="0" dirty="0">
                <a:solidFill>
                  <a:schemeClr val="accent1">
                    <a:lumMod val="25000"/>
                  </a:schemeClr>
                </a:solidFill>
                <a:latin typeface="Formular" panose="02000000000000000000"/>
              </a:rPr>
              <a:t>Б е л о р у с </a:t>
            </a:r>
            <a:r>
              <a:rPr lang="ru-RU" altLang="ru-RU" sz="1400" kern="0" dirty="0" err="1">
                <a:solidFill>
                  <a:schemeClr val="accent1">
                    <a:lumMod val="25000"/>
                  </a:schemeClr>
                </a:solidFill>
                <a:latin typeface="Formular" panose="02000000000000000000"/>
              </a:rPr>
              <a:t>с</a:t>
            </a:r>
            <a:r>
              <a:rPr lang="ru-RU" altLang="ru-RU" sz="1400" kern="0" dirty="0">
                <a:solidFill>
                  <a:schemeClr val="accent1">
                    <a:lumMod val="25000"/>
                  </a:schemeClr>
                </a:solidFill>
                <a:latin typeface="Formular" panose="02000000000000000000"/>
              </a:rPr>
              <a:t> и я,  А р м е н и я,  Г р у з и я,  Т а д ж и к и с т а н, </a:t>
            </a:r>
          </a:p>
          <a:p>
            <a:pPr marL="3239" algn="ctr" defTabSz="932962" eaLnBrk="1" hangingPunct="1"/>
            <a:r>
              <a:rPr lang="ru-RU" altLang="ru-RU" sz="1400" kern="0" dirty="0">
                <a:solidFill>
                  <a:schemeClr val="accent1">
                    <a:lumMod val="25000"/>
                  </a:schemeClr>
                </a:solidFill>
                <a:latin typeface="Formular" panose="02000000000000000000"/>
              </a:rPr>
              <a:t> К ы р г ы з с т а н</a:t>
            </a:r>
          </a:p>
        </p:txBody>
      </p:sp>
      <p:sp>
        <p:nvSpPr>
          <p:cNvPr id="24" name="Rectangle 2"/>
          <p:cNvSpPr txBox="1">
            <a:spLocks noChangeArrowheads="1"/>
          </p:cNvSpPr>
          <p:nvPr/>
        </p:nvSpPr>
        <p:spPr bwMode="gray">
          <a:xfrm>
            <a:off x="825624" y="169074"/>
            <a:ext cx="85180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defTabSz="932962" eaLnBrk="1" hangingPunct="1"/>
            <a:r>
              <a:rPr lang="ru-RU" altLang="ru-RU" sz="2400" kern="0" dirty="0" smtClean="0">
                <a:latin typeface="Formular" panose="02000000000000000000"/>
              </a:rPr>
              <a:t>Исходящие и входящие платежи в валютах:</a:t>
            </a:r>
          </a:p>
        </p:txBody>
      </p:sp>
      <p:sp>
        <p:nvSpPr>
          <p:cNvPr id="25" name="Isosceles Triangle 784">
            <a:extLst>
              <a:ext uri="{FF2B5EF4-FFF2-40B4-BE49-F238E27FC236}">
                <a16:creationId xmlns:a16="http://schemas.microsoft.com/office/drawing/2014/main" id="{DE2DE290-BCF9-9A79-F9BB-9DF529BC7E92}"/>
              </a:ext>
            </a:extLst>
          </p:cNvPr>
          <p:cNvSpPr/>
          <p:nvPr/>
        </p:nvSpPr>
        <p:spPr>
          <a:xfrm rot="10800000">
            <a:off x="2251580" y="2048914"/>
            <a:ext cx="327555" cy="215164"/>
          </a:xfrm>
          <a:prstGeom prst="triangle">
            <a:avLst/>
          </a:prstGeom>
          <a:solidFill>
            <a:srgbClr val="1D4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rgbClr val="102C51"/>
              </a:solidFill>
              <a:cs typeface="+mn-ea"/>
              <a:sym typeface="+mn-lt"/>
            </a:endParaRPr>
          </a:p>
        </p:txBody>
      </p:sp>
      <p:sp>
        <p:nvSpPr>
          <p:cNvPr id="26" name="Isosceles Triangle 784">
            <a:extLst>
              <a:ext uri="{FF2B5EF4-FFF2-40B4-BE49-F238E27FC236}">
                <a16:creationId xmlns:a16="http://schemas.microsoft.com/office/drawing/2014/main" id="{DE2DE290-BCF9-9A79-F9BB-9DF529BC7E92}"/>
              </a:ext>
            </a:extLst>
          </p:cNvPr>
          <p:cNvSpPr/>
          <p:nvPr/>
        </p:nvSpPr>
        <p:spPr>
          <a:xfrm rot="10800000">
            <a:off x="8490019" y="2048914"/>
            <a:ext cx="327555" cy="215164"/>
          </a:xfrm>
          <a:prstGeom prst="triangle">
            <a:avLst/>
          </a:prstGeom>
          <a:solidFill>
            <a:srgbClr val="1D4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rgbClr val="102C51"/>
              </a:solidFill>
              <a:cs typeface="+mn-ea"/>
              <a:sym typeface="+mn-lt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 flipV="1">
            <a:off x="380688" y="3548801"/>
            <a:ext cx="10743031" cy="35837"/>
          </a:xfrm>
          <a:prstGeom prst="line">
            <a:avLst/>
          </a:prstGeom>
          <a:ln w="222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2" name="Isosceles Triangle 784">
            <a:extLst>
              <a:ext uri="{FF2B5EF4-FFF2-40B4-BE49-F238E27FC236}">
                <a16:creationId xmlns:a16="http://schemas.microsoft.com/office/drawing/2014/main" id="{DE2DE290-BCF9-9A79-F9BB-9DF529BC7E92}"/>
              </a:ext>
            </a:extLst>
          </p:cNvPr>
          <p:cNvSpPr/>
          <p:nvPr/>
        </p:nvSpPr>
        <p:spPr>
          <a:xfrm rot="10800000">
            <a:off x="6813133" y="4846633"/>
            <a:ext cx="327555" cy="215164"/>
          </a:xfrm>
          <a:prstGeom prst="triangle">
            <a:avLst/>
          </a:prstGeom>
          <a:solidFill>
            <a:srgbClr val="1D4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rgbClr val="102C51"/>
              </a:solidFill>
              <a:cs typeface="+mn-ea"/>
              <a:sym typeface="+mn-lt"/>
            </a:endParaRPr>
          </a:p>
        </p:txBody>
      </p:sp>
      <p:sp>
        <p:nvSpPr>
          <p:cNvPr id="33" name="Isosceles Triangle 784">
            <a:extLst>
              <a:ext uri="{FF2B5EF4-FFF2-40B4-BE49-F238E27FC236}">
                <a16:creationId xmlns:a16="http://schemas.microsoft.com/office/drawing/2014/main" id="{DE2DE290-BCF9-9A79-F9BB-9DF529BC7E92}"/>
              </a:ext>
            </a:extLst>
          </p:cNvPr>
          <p:cNvSpPr/>
          <p:nvPr/>
        </p:nvSpPr>
        <p:spPr>
          <a:xfrm rot="10800000">
            <a:off x="3446851" y="4846633"/>
            <a:ext cx="327555" cy="215164"/>
          </a:xfrm>
          <a:prstGeom prst="triangle">
            <a:avLst/>
          </a:prstGeom>
          <a:solidFill>
            <a:srgbClr val="1D4F9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rgbClr val="102C5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2895717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 sz="1200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2</a:t>
            </a:fld>
            <a:r>
              <a:rPr lang="ru-RU" altLang="ru-RU" sz="1200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23" name="Rectangle 2"/>
          <p:cNvSpPr txBox="1">
            <a:spLocks noChangeArrowheads="1"/>
          </p:cNvSpPr>
          <p:nvPr/>
        </p:nvSpPr>
        <p:spPr bwMode="gray">
          <a:xfrm>
            <a:off x="373185" y="322356"/>
            <a:ext cx="8518028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marL="3239" defTabSz="932962" eaLnBrk="1" hangingPunct="1"/>
            <a:r>
              <a:rPr lang="ru-RU" altLang="ru-RU" sz="2400" kern="0" dirty="0" smtClean="0">
                <a:latin typeface="Formular" panose="02000000000000000000"/>
              </a:rPr>
              <a:t>Наши преимущества при валютном контроле</a:t>
            </a:r>
          </a:p>
        </p:txBody>
      </p:sp>
      <p:grpSp>
        <p:nvGrpSpPr>
          <p:cNvPr id="24" name="组合 1">
            <a:extLst>
              <a:ext uri="{FF2B5EF4-FFF2-40B4-BE49-F238E27FC236}">
                <a16:creationId xmlns:a16="http://schemas.microsoft.com/office/drawing/2014/main" id="{61E8222C-FBEF-028D-8A1F-7AE729AD90B5}"/>
              </a:ext>
            </a:extLst>
          </p:cNvPr>
          <p:cNvGrpSpPr/>
          <p:nvPr/>
        </p:nvGrpSpPr>
        <p:grpSpPr>
          <a:xfrm rot="1863397">
            <a:off x="4616158" y="1201957"/>
            <a:ext cx="2959684" cy="2962622"/>
            <a:chOff x="4496731" y="2130569"/>
            <a:chExt cx="2959684" cy="2962622"/>
          </a:xfrm>
          <a:solidFill>
            <a:srgbClr val="1D4F91"/>
          </a:solidFill>
        </p:grpSpPr>
        <p:grpSp>
          <p:nvGrpSpPr>
            <p:cNvPr id="25" name="组合 4">
              <a:extLst>
                <a:ext uri="{FF2B5EF4-FFF2-40B4-BE49-F238E27FC236}">
                  <a16:creationId xmlns:a16="http://schemas.microsoft.com/office/drawing/2014/main" id="{EAE7C90A-2210-10BE-B376-4D35F9DE837D}"/>
                </a:ext>
              </a:extLst>
            </p:cNvPr>
            <p:cNvGrpSpPr/>
            <p:nvPr/>
          </p:nvGrpSpPr>
          <p:grpSpPr>
            <a:xfrm>
              <a:off x="4496731" y="2130569"/>
              <a:ext cx="2959684" cy="2962622"/>
              <a:chOff x="4496731" y="1947689"/>
              <a:chExt cx="2959684" cy="2962622"/>
            </a:xfrm>
            <a:grpFill/>
          </p:grpSpPr>
          <p:sp>
            <p:nvSpPr>
              <p:cNvPr id="30" name="Freeform 437">
                <a:extLst>
                  <a:ext uri="{FF2B5EF4-FFF2-40B4-BE49-F238E27FC236}">
                    <a16:creationId xmlns:a16="http://schemas.microsoft.com/office/drawing/2014/main" id="{B5BA80B5-43AA-37D9-5751-2FDF0931A9EA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496731" y="1947689"/>
                <a:ext cx="2959684" cy="2962622"/>
              </a:xfrm>
              <a:custGeom>
                <a:avLst/>
                <a:gdLst>
                  <a:gd name="T0" fmla="*/ 816 w 1007"/>
                  <a:gd name="T1" fmla="*/ 114 h 1008"/>
                  <a:gd name="T2" fmla="*/ 809 w 1007"/>
                  <a:gd name="T3" fmla="*/ 130 h 1008"/>
                  <a:gd name="T4" fmla="*/ 791 w 1007"/>
                  <a:gd name="T5" fmla="*/ 130 h 1008"/>
                  <a:gd name="T6" fmla="*/ 668 w 1007"/>
                  <a:gd name="T7" fmla="*/ 61 h 1008"/>
                  <a:gd name="T8" fmla="*/ 540 w 1007"/>
                  <a:gd name="T9" fmla="*/ 33 h 1008"/>
                  <a:gd name="T10" fmla="*/ 510 w 1007"/>
                  <a:gd name="T11" fmla="*/ 0 h 1008"/>
                  <a:gd name="T12" fmla="*/ 611 w 1007"/>
                  <a:gd name="T13" fmla="*/ 10 h 1008"/>
                  <a:gd name="T14" fmla="*/ 747 w 1007"/>
                  <a:gd name="T15" fmla="*/ 61 h 1008"/>
                  <a:gd name="T16" fmla="*/ 510 w 1007"/>
                  <a:gd name="T17" fmla="*/ 1008 h 1008"/>
                  <a:gd name="T18" fmla="*/ 570 w 1007"/>
                  <a:gd name="T19" fmla="*/ 971 h 1008"/>
                  <a:gd name="T20" fmla="*/ 650 w 1007"/>
                  <a:gd name="T21" fmla="*/ 952 h 1008"/>
                  <a:gd name="T22" fmla="*/ 707 w 1007"/>
                  <a:gd name="T23" fmla="*/ 929 h 1008"/>
                  <a:gd name="T24" fmla="*/ 833 w 1007"/>
                  <a:gd name="T25" fmla="*/ 842 h 1008"/>
                  <a:gd name="T26" fmla="*/ 903 w 1007"/>
                  <a:gd name="T27" fmla="*/ 755 h 1008"/>
                  <a:gd name="T28" fmla="*/ 963 w 1007"/>
                  <a:gd name="T29" fmla="*/ 613 h 1008"/>
                  <a:gd name="T30" fmla="*/ 973 w 1007"/>
                  <a:gd name="T31" fmla="*/ 458 h 1008"/>
                  <a:gd name="T32" fmla="*/ 982 w 1007"/>
                  <a:gd name="T33" fmla="*/ 442 h 1008"/>
                  <a:gd name="T34" fmla="*/ 1000 w 1007"/>
                  <a:gd name="T35" fmla="*/ 445 h 1008"/>
                  <a:gd name="T36" fmla="*/ 1007 w 1007"/>
                  <a:gd name="T37" fmla="*/ 498 h 1008"/>
                  <a:gd name="T38" fmla="*/ 983 w 1007"/>
                  <a:gd name="T39" fmla="*/ 660 h 1008"/>
                  <a:gd name="T40" fmla="*/ 942 w 1007"/>
                  <a:gd name="T41" fmla="*/ 755 h 1008"/>
                  <a:gd name="T42" fmla="*/ 883 w 1007"/>
                  <a:gd name="T43" fmla="*/ 837 h 1008"/>
                  <a:gd name="T44" fmla="*/ 794 w 1007"/>
                  <a:gd name="T45" fmla="*/ 916 h 1008"/>
                  <a:gd name="T46" fmla="*/ 721 w 1007"/>
                  <a:gd name="T47" fmla="*/ 959 h 1008"/>
                  <a:gd name="T48" fmla="*/ 660 w 1007"/>
                  <a:gd name="T49" fmla="*/ 983 h 1008"/>
                  <a:gd name="T50" fmla="*/ 574 w 1007"/>
                  <a:gd name="T51" fmla="*/ 1003 h 1008"/>
                  <a:gd name="T52" fmla="*/ 510 w 1007"/>
                  <a:gd name="T53" fmla="*/ 1008 h 1008"/>
                  <a:gd name="T54" fmla="*/ 459 w 1007"/>
                  <a:gd name="T55" fmla="*/ 34 h 1008"/>
                  <a:gd name="T56" fmla="*/ 359 w 1007"/>
                  <a:gd name="T57" fmla="*/ 56 h 1008"/>
                  <a:gd name="T58" fmla="*/ 285 w 1007"/>
                  <a:gd name="T59" fmla="*/ 87 h 1008"/>
                  <a:gd name="T60" fmla="*/ 188 w 1007"/>
                  <a:gd name="T61" fmla="*/ 154 h 1008"/>
                  <a:gd name="T62" fmla="*/ 128 w 1007"/>
                  <a:gd name="T63" fmla="*/ 218 h 1008"/>
                  <a:gd name="T64" fmla="*/ 64 w 1007"/>
                  <a:gd name="T65" fmla="*/ 334 h 1008"/>
                  <a:gd name="T66" fmla="*/ 34 w 1007"/>
                  <a:gd name="T67" fmla="*/ 470 h 1008"/>
                  <a:gd name="T68" fmla="*/ 33 w 1007"/>
                  <a:gd name="T69" fmla="*/ 509 h 1008"/>
                  <a:gd name="T70" fmla="*/ 34 w 1007"/>
                  <a:gd name="T71" fmla="*/ 553 h 1008"/>
                  <a:gd name="T72" fmla="*/ 20 w 1007"/>
                  <a:gd name="T73" fmla="*/ 564 h 1008"/>
                  <a:gd name="T74" fmla="*/ 3 w 1007"/>
                  <a:gd name="T75" fmla="*/ 550 h 1008"/>
                  <a:gd name="T76" fmla="*/ 1 w 1007"/>
                  <a:gd name="T77" fmla="*/ 469 h 1008"/>
                  <a:gd name="T78" fmla="*/ 13 w 1007"/>
                  <a:gd name="T79" fmla="*/ 392 h 1008"/>
                  <a:gd name="T80" fmla="*/ 64 w 1007"/>
                  <a:gd name="T81" fmla="*/ 258 h 1008"/>
                  <a:gd name="T82" fmla="*/ 122 w 1007"/>
                  <a:gd name="T83" fmla="*/ 174 h 1008"/>
                  <a:gd name="T84" fmla="*/ 216 w 1007"/>
                  <a:gd name="T85" fmla="*/ 91 h 1008"/>
                  <a:gd name="T86" fmla="*/ 298 w 1007"/>
                  <a:gd name="T87" fmla="*/ 44 h 1008"/>
                  <a:gd name="T88" fmla="*/ 402 w 1007"/>
                  <a:gd name="T89" fmla="*/ 12 h 1008"/>
                  <a:gd name="T90" fmla="*/ 510 w 1007"/>
                  <a:gd name="T91" fmla="*/ 0 h 1008"/>
                  <a:gd name="T92" fmla="*/ 510 w 1007"/>
                  <a:gd name="T93" fmla="*/ 1008 h 1008"/>
                  <a:gd name="T94" fmla="*/ 446 w 1007"/>
                  <a:gd name="T95" fmla="*/ 1005 h 1008"/>
                  <a:gd name="T96" fmla="*/ 365 w 1007"/>
                  <a:gd name="T97" fmla="*/ 989 h 1008"/>
                  <a:gd name="T98" fmla="*/ 261 w 1007"/>
                  <a:gd name="T99" fmla="*/ 944 h 1008"/>
                  <a:gd name="T100" fmla="*/ 206 w 1007"/>
                  <a:gd name="T101" fmla="*/ 904 h 1008"/>
                  <a:gd name="T102" fmla="*/ 208 w 1007"/>
                  <a:gd name="T103" fmla="*/ 887 h 1008"/>
                  <a:gd name="T104" fmla="*/ 231 w 1007"/>
                  <a:gd name="T105" fmla="*/ 884 h 1008"/>
                  <a:gd name="T106" fmla="*/ 301 w 1007"/>
                  <a:gd name="T107" fmla="*/ 929 h 1008"/>
                  <a:gd name="T108" fmla="*/ 400 w 1007"/>
                  <a:gd name="T109" fmla="*/ 965 h 1008"/>
                  <a:gd name="T110" fmla="*/ 470 w 1007"/>
                  <a:gd name="T111" fmla="*/ 975 h 10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</a:cxnLst>
                <a:rect l="0" t="0" r="r" b="b"/>
                <a:pathLst>
                  <a:path w="1007" h="1008">
                    <a:moveTo>
                      <a:pt x="811" y="104"/>
                    </a:moveTo>
                    <a:lnTo>
                      <a:pt x="811" y="104"/>
                    </a:lnTo>
                    <a:lnTo>
                      <a:pt x="815" y="108"/>
                    </a:lnTo>
                    <a:lnTo>
                      <a:pt x="816" y="114"/>
                    </a:lnTo>
                    <a:lnTo>
                      <a:pt x="816" y="120"/>
                    </a:lnTo>
                    <a:lnTo>
                      <a:pt x="814" y="126"/>
                    </a:lnTo>
                    <a:lnTo>
                      <a:pt x="814" y="126"/>
                    </a:lnTo>
                    <a:lnTo>
                      <a:pt x="809" y="130"/>
                    </a:lnTo>
                    <a:lnTo>
                      <a:pt x="802" y="133"/>
                    </a:lnTo>
                    <a:lnTo>
                      <a:pt x="796" y="133"/>
                    </a:lnTo>
                    <a:lnTo>
                      <a:pt x="791" y="130"/>
                    </a:lnTo>
                    <a:lnTo>
                      <a:pt x="791" y="130"/>
                    </a:lnTo>
                    <a:lnTo>
                      <a:pt x="761" y="108"/>
                    </a:lnTo>
                    <a:lnTo>
                      <a:pt x="731" y="90"/>
                    </a:lnTo>
                    <a:lnTo>
                      <a:pt x="700" y="74"/>
                    </a:lnTo>
                    <a:lnTo>
                      <a:pt x="668" y="61"/>
                    </a:lnTo>
                    <a:lnTo>
                      <a:pt x="637" y="50"/>
                    </a:lnTo>
                    <a:lnTo>
                      <a:pt x="604" y="43"/>
                    </a:lnTo>
                    <a:lnTo>
                      <a:pt x="573" y="37"/>
                    </a:lnTo>
                    <a:lnTo>
                      <a:pt x="540" y="33"/>
                    </a:lnTo>
                    <a:lnTo>
                      <a:pt x="540" y="33"/>
                    </a:lnTo>
                    <a:lnTo>
                      <a:pt x="510" y="32"/>
                    </a:lnTo>
                    <a:lnTo>
                      <a:pt x="510" y="0"/>
                    </a:lnTo>
                    <a:lnTo>
                      <a:pt x="510" y="0"/>
                    </a:lnTo>
                    <a:lnTo>
                      <a:pt x="541" y="2"/>
                    </a:lnTo>
                    <a:lnTo>
                      <a:pt x="541" y="2"/>
                    </a:lnTo>
                    <a:lnTo>
                      <a:pt x="577" y="4"/>
                    </a:lnTo>
                    <a:lnTo>
                      <a:pt x="611" y="10"/>
                    </a:lnTo>
                    <a:lnTo>
                      <a:pt x="645" y="20"/>
                    </a:lnTo>
                    <a:lnTo>
                      <a:pt x="680" y="32"/>
                    </a:lnTo>
                    <a:lnTo>
                      <a:pt x="714" y="44"/>
                    </a:lnTo>
                    <a:lnTo>
                      <a:pt x="747" y="61"/>
                    </a:lnTo>
                    <a:lnTo>
                      <a:pt x="779" y="81"/>
                    </a:lnTo>
                    <a:lnTo>
                      <a:pt x="811" y="104"/>
                    </a:lnTo>
                    <a:lnTo>
                      <a:pt x="811" y="104"/>
                    </a:lnTo>
                    <a:close/>
                    <a:moveTo>
                      <a:pt x="510" y="1008"/>
                    </a:moveTo>
                    <a:lnTo>
                      <a:pt x="510" y="976"/>
                    </a:lnTo>
                    <a:lnTo>
                      <a:pt x="510" y="976"/>
                    </a:lnTo>
                    <a:lnTo>
                      <a:pt x="550" y="973"/>
                    </a:lnTo>
                    <a:lnTo>
                      <a:pt x="570" y="971"/>
                    </a:lnTo>
                    <a:lnTo>
                      <a:pt x="590" y="968"/>
                    </a:lnTo>
                    <a:lnTo>
                      <a:pt x="610" y="963"/>
                    </a:lnTo>
                    <a:lnTo>
                      <a:pt x="630" y="958"/>
                    </a:lnTo>
                    <a:lnTo>
                      <a:pt x="650" y="952"/>
                    </a:lnTo>
                    <a:lnTo>
                      <a:pt x="670" y="945"/>
                    </a:lnTo>
                    <a:lnTo>
                      <a:pt x="670" y="945"/>
                    </a:lnTo>
                    <a:lnTo>
                      <a:pt x="688" y="938"/>
                    </a:lnTo>
                    <a:lnTo>
                      <a:pt x="707" y="929"/>
                    </a:lnTo>
                    <a:lnTo>
                      <a:pt x="742" y="911"/>
                    </a:lnTo>
                    <a:lnTo>
                      <a:pt x="775" y="891"/>
                    </a:lnTo>
                    <a:lnTo>
                      <a:pt x="805" y="868"/>
                    </a:lnTo>
                    <a:lnTo>
                      <a:pt x="833" y="842"/>
                    </a:lnTo>
                    <a:lnTo>
                      <a:pt x="859" y="815"/>
                    </a:lnTo>
                    <a:lnTo>
                      <a:pt x="882" y="787"/>
                    </a:lnTo>
                    <a:lnTo>
                      <a:pt x="903" y="755"/>
                    </a:lnTo>
                    <a:lnTo>
                      <a:pt x="903" y="755"/>
                    </a:lnTo>
                    <a:lnTo>
                      <a:pt x="922" y="723"/>
                    </a:lnTo>
                    <a:lnTo>
                      <a:pt x="939" y="687"/>
                    </a:lnTo>
                    <a:lnTo>
                      <a:pt x="952" y="650"/>
                    </a:lnTo>
                    <a:lnTo>
                      <a:pt x="963" y="613"/>
                    </a:lnTo>
                    <a:lnTo>
                      <a:pt x="970" y="574"/>
                    </a:lnTo>
                    <a:lnTo>
                      <a:pt x="975" y="536"/>
                    </a:lnTo>
                    <a:lnTo>
                      <a:pt x="976" y="498"/>
                    </a:lnTo>
                    <a:lnTo>
                      <a:pt x="973" y="458"/>
                    </a:lnTo>
                    <a:lnTo>
                      <a:pt x="973" y="458"/>
                    </a:lnTo>
                    <a:lnTo>
                      <a:pt x="975" y="452"/>
                    </a:lnTo>
                    <a:lnTo>
                      <a:pt x="977" y="446"/>
                    </a:lnTo>
                    <a:lnTo>
                      <a:pt x="982" y="442"/>
                    </a:lnTo>
                    <a:lnTo>
                      <a:pt x="989" y="441"/>
                    </a:lnTo>
                    <a:lnTo>
                      <a:pt x="989" y="441"/>
                    </a:lnTo>
                    <a:lnTo>
                      <a:pt x="994" y="442"/>
                    </a:lnTo>
                    <a:lnTo>
                      <a:pt x="1000" y="445"/>
                    </a:lnTo>
                    <a:lnTo>
                      <a:pt x="1004" y="449"/>
                    </a:lnTo>
                    <a:lnTo>
                      <a:pt x="1006" y="455"/>
                    </a:lnTo>
                    <a:lnTo>
                      <a:pt x="1006" y="455"/>
                    </a:lnTo>
                    <a:lnTo>
                      <a:pt x="1007" y="498"/>
                    </a:lnTo>
                    <a:lnTo>
                      <a:pt x="1007" y="539"/>
                    </a:lnTo>
                    <a:lnTo>
                      <a:pt x="1002" y="580"/>
                    </a:lnTo>
                    <a:lnTo>
                      <a:pt x="994" y="620"/>
                    </a:lnTo>
                    <a:lnTo>
                      <a:pt x="983" y="660"/>
                    </a:lnTo>
                    <a:lnTo>
                      <a:pt x="969" y="700"/>
                    </a:lnTo>
                    <a:lnTo>
                      <a:pt x="960" y="718"/>
                    </a:lnTo>
                    <a:lnTo>
                      <a:pt x="952" y="737"/>
                    </a:lnTo>
                    <a:lnTo>
                      <a:pt x="942" y="755"/>
                    </a:lnTo>
                    <a:lnTo>
                      <a:pt x="930" y="774"/>
                    </a:lnTo>
                    <a:lnTo>
                      <a:pt x="930" y="774"/>
                    </a:lnTo>
                    <a:lnTo>
                      <a:pt x="909" y="805"/>
                    </a:lnTo>
                    <a:lnTo>
                      <a:pt x="883" y="837"/>
                    </a:lnTo>
                    <a:lnTo>
                      <a:pt x="856" y="865"/>
                    </a:lnTo>
                    <a:lnTo>
                      <a:pt x="826" y="892"/>
                    </a:lnTo>
                    <a:lnTo>
                      <a:pt x="811" y="905"/>
                    </a:lnTo>
                    <a:lnTo>
                      <a:pt x="794" y="916"/>
                    </a:lnTo>
                    <a:lnTo>
                      <a:pt x="776" y="928"/>
                    </a:lnTo>
                    <a:lnTo>
                      <a:pt x="758" y="939"/>
                    </a:lnTo>
                    <a:lnTo>
                      <a:pt x="739" y="949"/>
                    </a:lnTo>
                    <a:lnTo>
                      <a:pt x="721" y="959"/>
                    </a:lnTo>
                    <a:lnTo>
                      <a:pt x="701" y="968"/>
                    </a:lnTo>
                    <a:lnTo>
                      <a:pt x="681" y="976"/>
                    </a:lnTo>
                    <a:lnTo>
                      <a:pt x="681" y="976"/>
                    </a:lnTo>
                    <a:lnTo>
                      <a:pt x="660" y="983"/>
                    </a:lnTo>
                    <a:lnTo>
                      <a:pt x="638" y="989"/>
                    </a:lnTo>
                    <a:lnTo>
                      <a:pt x="617" y="995"/>
                    </a:lnTo>
                    <a:lnTo>
                      <a:pt x="595" y="999"/>
                    </a:lnTo>
                    <a:lnTo>
                      <a:pt x="574" y="1003"/>
                    </a:lnTo>
                    <a:lnTo>
                      <a:pt x="553" y="1006"/>
                    </a:lnTo>
                    <a:lnTo>
                      <a:pt x="531" y="1008"/>
                    </a:lnTo>
                    <a:lnTo>
                      <a:pt x="510" y="1008"/>
                    </a:lnTo>
                    <a:lnTo>
                      <a:pt x="510" y="1008"/>
                    </a:lnTo>
                    <a:close/>
                    <a:moveTo>
                      <a:pt x="510" y="32"/>
                    </a:moveTo>
                    <a:lnTo>
                      <a:pt x="510" y="32"/>
                    </a:lnTo>
                    <a:lnTo>
                      <a:pt x="484" y="33"/>
                    </a:lnTo>
                    <a:lnTo>
                      <a:pt x="459" y="34"/>
                    </a:lnTo>
                    <a:lnTo>
                      <a:pt x="433" y="39"/>
                    </a:lnTo>
                    <a:lnTo>
                      <a:pt x="409" y="43"/>
                    </a:lnTo>
                    <a:lnTo>
                      <a:pt x="383" y="49"/>
                    </a:lnTo>
                    <a:lnTo>
                      <a:pt x="359" y="56"/>
                    </a:lnTo>
                    <a:lnTo>
                      <a:pt x="335" y="64"/>
                    </a:lnTo>
                    <a:lnTo>
                      <a:pt x="310" y="74"/>
                    </a:lnTo>
                    <a:lnTo>
                      <a:pt x="310" y="74"/>
                    </a:lnTo>
                    <a:lnTo>
                      <a:pt x="285" y="87"/>
                    </a:lnTo>
                    <a:lnTo>
                      <a:pt x="259" y="101"/>
                    </a:lnTo>
                    <a:lnTo>
                      <a:pt x="235" y="117"/>
                    </a:lnTo>
                    <a:lnTo>
                      <a:pt x="211" y="136"/>
                    </a:lnTo>
                    <a:lnTo>
                      <a:pt x="188" y="154"/>
                    </a:lnTo>
                    <a:lnTo>
                      <a:pt x="167" y="174"/>
                    </a:lnTo>
                    <a:lnTo>
                      <a:pt x="147" y="195"/>
                    </a:lnTo>
                    <a:lnTo>
                      <a:pt x="128" y="218"/>
                    </a:lnTo>
                    <a:lnTo>
                      <a:pt x="128" y="218"/>
                    </a:lnTo>
                    <a:lnTo>
                      <a:pt x="110" y="245"/>
                    </a:lnTo>
                    <a:lnTo>
                      <a:pt x="92" y="274"/>
                    </a:lnTo>
                    <a:lnTo>
                      <a:pt x="77" y="302"/>
                    </a:lnTo>
                    <a:lnTo>
                      <a:pt x="64" y="334"/>
                    </a:lnTo>
                    <a:lnTo>
                      <a:pt x="53" y="366"/>
                    </a:lnTo>
                    <a:lnTo>
                      <a:pt x="44" y="399"/>
                    </a:lnTo>
                    <a:lnTo>
                      <a:pt x="38" y="435"/>
                    </a:lnTo>
                    <a:lnTo>
                      <a:pt x="34" y="470"/>
                    </a:lnTo>
                    <a:lnTo>
                      <a:pt x="34" y="470"/>
                    </a:lnTo>
                    <a:lnTo>
                      <a:pt x="34" y="470"/>
                    </a:lnTo>
                    <a:lnTo>
                      <a:pt x="34" y="470"/>
                    </a:lnTo>
                    <a:lnTo>
                      <a:pt x="33" y="509"/>
                    </a:lnTo>
                    <a:lnTo>
                      <a:pt x="33" y="509"/>
                    </a:lnTo>
                    <a:lnTo>
                      <a:pt x="35" y="547"/>
                    </a:lnTo>
                    <a:lnTo>
                      <a:pt x="35" y="547"/>
                    </a:lnTo>
                    <a:lnTo>
                      <a:pt x="34" y="553"/>
                    </a:lnTo>
                    <a:lnTo>
                      <a:pt x="31" y="559"/>
                    </a:lnTo>
                    <a:lnTo>
                      <a:pt x="27" y="563"/>
                    </a:lnTo>
                    <a:lnTo>
                      <a:pt x="20" y="564"/>
                    </a:lnTo>
                    <a:lnTo>
                      <a:pt x="20" y="564"/>
                    </a:lnTo>
                    <a:lnTo>
                      <a:pt x="14" y="564"/>
                    </a:lnTo>
                    <a:lnTo>
                      <a:pt x="8" y="560"/>
                    </a:lnTo>
                    <a:lnTo>
                      <a:pt x="4" y="556"/>
                    </a:lnTo>
                    <a:lnTo>
                      <a:pt x="3" y="550"/>
                    </a:lnTo>
                    <a:lnTo>
                      <a:pt x="3" y="550"/>
                    </a:lnTo>
                    <a:lnTo>
                      <a:pt x="0" y="509"/>
                    </a:lnTo>
                    <a:lnTo>
                      <a:pt x="0" y="509"/>
                    </a:lnTo>
                    <a:lnTo>
                      <a:pt x="1" y="469"/>
                    </a:lnTo>
                    <a:lnTo>
                      <a:pt x="1" y="469"/>
                    </a:lnTo>
                    <a:lnTo>
                      <a:pt x="1" y="469"/>
                    </a:lnTo>
                    <a:lnTo>
                      <a:pt x="6" y="431"/>
                    </a:lnTo>
                    <a:lnTo>
                      <a:pt x="13" y="392"/>
                    </a:lnTo>
                    <a:lnTo>
                      <a:pt x="23" y="356"/>
                    </a:lnTo>
                    <a:lnTo>
                      <a:pt x="34" y="322"/>
                    </a:lnTo>
                    <a:lnTo>
                      <a:pt x="48" y="289"/>
                    </a:lnTo>
                    <a:lnTo>
                      <a:pt x="64" y="258"/>
                    </a:lnTo>
                    <a:lnTo>
                      <a:pt x="82" y="227"/>
                    </a:lnTo>
                    <a:lnTo>
                      <a:pt x="102" y="198"/>
                    </a:lnTo>
                    <a:lnTo>
                      <a:pt x="102" y="198"/>
                    </a:lnTo>
                    <a:lnTo>
                      <a:pt x="122" y="174"/>
                    </a:lnTo>
                    <a:lnTo>
                      <a:pt x="144" y="151"/>
                    </a:lnTo>
                    <a:lnTo>
                      <a:pt x="167" y="130"/>
                    </a:lnTo>
                    <a:lnTo>
                      <a:pt x="191" y="110"/>
                    </a:lnTo>
                    <a:lnTo>
                      <a:pt x="216" y="91"/>
                    </a:lnTo>
                    <a:lnTo>
                      <a:pt x="242" y="74"/>
                    </a:lnTo>
                    <a:lnTo>
                      <a:pt x="269" y="59"/>
                    </a:lnTo>
                    <a:lnTo>
                      <a:pt x="298" y="44"/>
                    </a:lnTo>
                    <a:lnTo>
                      <a:pt x="298" y="44"/>
                    </a:lnTo>
                    <a:lnTo>
                      <a:pt x="323" y="34"/>
                    </a:lnTo>
                    <a:lnTo>
                      <a:pt x="349" y="26"/>
                    </a:lnTo>
                    <a:lnTo>
                      <a:pt x="375" y="17"/>
                    </a:lnTo>
                    <a:lnTo>
                      <a:pt x="402" y="12"/>
                    </a:lnTo>
                    <a:lnTo>
                      <a:pt x="429" y="6"/>
                    </a:lnTo>
                    <a:lnTo>
                      <a:pt x="456" y="3"/>
                    </a:lnTo>
                    <a:lnTo>
                      <a:pt x="483" y="0"/>
                    </a:lnTo>
                    <a:lnTo>
                      <a:pt x="510" y="0"/>
                    </a:lnTo>
                    <a:lnTo>
                      <a:pt x="510" y="32"/>
                    </a:lnTo>
                    <a:lnTo>
                      <a:pt x="510" y="32"/>
                    </a:lnTo>
                    <a:close/>
                    <a:moveTo>
                      <a:pt x="510" y="976"/>
                    </a:moveTo>
                    <a:lnTo>
                      <a:pt x="510" y="1008"/>
                    </a:lnTo>
                    <a:lnTo>
                      <a:pt x="510" y="1008"/>
                    </a:lnTo>
                    <a:lnTo>
                      <a:pt x="489" y="1008"/>
                    </a:lnTo>
                    <a:lnTo>
                      <a:pt x="467" y="1006"/>
                    </a:lnTo>
                    <a:lnTo>
                      <a:pt x="446" y="1005"/>
                    </a:lnTo>
                    <a:lnTo>
                      <a:pt x="426" y="1002"/>
                    </a:lnTo>
                    <a:lnTo>
                      <a:pt x="426" y="1002"/>
                    </a:lnTo>
                    <a:lnTo>
                      <a:pt x="393" y="996"/>
                    </a:lnTo>
                    <a:lnTo>
                      <a:pt x="365" y="989"/>
                    </a:lnTo>
                    <a:lnTo>
                      <a:pt x="336" y="981"/>
                    </a:lnTo>
                    <a:lnTo>
                      <a:pt x="310" y="971"/>
                    </a:lnTo>
                    <a:lnTo>
                      <a:pt x="285" y="958"/>
                    </a:lnTo>
                    <a:lnTo>
                      <a:pt x="261" y="944"/>
                    </a:lnTo>
                    <a:lnTo>
                      <a:pt x="235" y="928"/>
                    </a:lnTo>
                    <a:lnTo>
                      <a:pt x="211" y="909"/>
                    </a:lnTo>
                    <a:lnTo>
                      <a:pt x="211" y="909"/>
                    </a:lnTo>
                    <a:lnTo>
                      <a:pt x="206" y="904"/>
                    </a:lnTo>
                    <a:lnTo>
                      <a:pt x="205" y="898"/>
                    </a:lnTo>
                    <a:lnTo>
                      <a:pt x="205" y="892"/>
                    </a:lnTo>
                    <a:lnTo>
                      <a:pt x="208" y="887"/>
                    </a:lnTo>
                    <a:lnTo>
                      <a:pt x="208" y="887"/>
                    </a:lnTo>
                    <a:lnTo>
                      <a:pt x="214" y="882"/>
                    </a:lnTo>
                    <a:lnTo>
                      <a:pt x="219" y="879"/>
                    </a:lnTo>
                    <a:lnTo>
                      <a:pt x="225" y="881"/>
                    </a:lnTo>
                    <a:lnTo>
                      <a:pt x="231" y="884"/>
                    </a:lnTo>
                    <a:lnTo>
                      <a:pt x="231" y="884"/>
                    </a:lnTo>
                    <a:lnTo>
                      <a:pt x="253" y="901"/>
                    </a:lnTo>
                    <a:lnTo>
                      <a:pt x="278" y="916"/>
                    </a:lnTo>
                    <a:lnTo>
                      <a:pt x="301" y="929"/>
                    </a:lnTo>
                    <a:lnTo>
                      <a:pt x="323" y="941"/>
                    </a:lnTo>
                    <a:lnTo>
                      <a:pt x="348" y="951"/>
                    </a:lnTo>
                    <a:lnTo>
                      <a:pt x="373" y="958"/>
                    </a:lnTo>
                    <a:lnTo>
                      <a:pt x="400" y="965"/>
                    </a:lnTo>
                    <a:lnTo>
                      <a:pt x="430" y="969"/>
                    </a:lnTo>
                    <a:lnTo>
                      <a:pt x="430" y="969"/>
                    </a:lnTo>
                    <a:lnTo>
                      <a:pt x="450" y="972"/>
                    </a:lnTo>
                    <a:lnTo>
                      <a:pt x="470" y="975"/>
                    </a:lnTo>
                    <a:lnTo>
                      <a:pt x="490" y="975"/>
                    </a:lnTo>
                    <a:lnTo>
                      <a:pt x="510" y="976"/>
                    </a:lnTo>
                    <a:lnTo>
                      <a:pt x="510" y="976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 dirty="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1" name="Freeform 438">
                <a:extLst>
                  <a:ext uri="{FF2B5EF4-FFF2-40B4-BE49-F238E27FC236}">
                    <a16:creationId xmlns:a16="http://schemas.microsoft.com/office/drawing/2014/main" id="{4D5F9EB0-D16F-20C2-A28C-47C24853C1F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615828" y="2041740"/>
                <a:ext cx="326242" cy="317423"/>
              </a:xfrm>
              <a:custGeom>
                <a:avLst/>
                <a:gdLst>
                  <a:gd name="T0" fmla="*/ 111 w 111"/>
                  <a:gd name="T1" fmla="*/ 104 h 108"/>
                  <a:gd name="T2" fmla="*/ 0 w 111"/>
                  <a:gd name="T3" fmla="*/ 108 h 108"/>
                  <a:gd name="T4" fmla="*/ 70 w 111"/>
                  <a:gd name="T5" fmla="*/ 0 h 108"/>
                  <a:gd name="T6" fmla="*/ 111 w 111"/>
                  <a:gd name="T7" fmla="*/ 104 h 10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1" h="108">
                    <a:moveTo>
                      <a:pt x="111" y="104"/>
                    </a:moveTo>
                    <a:lnTo>
                      <a:pt x="0" y="108"/>
                    </a:lnTo>
                    <a:lnTo>
                      <a:pt x="70" y="0"/>
                    </a:lnTo>
                    <a:lnTo>
                      <a:pt x="111" y="10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32" name="Freeform 439">
                <a:extLst>
                  <a:ext uri="{FF2B5EF4-FFF2-40B4-BE49-F238E27FC236}">
                    <a16:creationId xmlns:a16="http://schemas.microsoft.com/office/drawing/2014/main" id="{E2BCF4E3-5E4B-4EF4-DC7D-EE46A6E80F9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5049284" y="4507653"/>
                <a:ext cx="326242" cy="323302"/>
              </a:xfrm>
              <a:custGeom>
                <a:avLst/>
                <a:gdLst>
                  <a:gd name="T0" fmla="*/ 0 w 111"/>
                  <a:gd name="T1" fmla="*/ 6 h 110"/>
                  <a:gd name="T2" fmla="*/ 111 w 111"/>
                  <a:gd name="T3" fmla="*/ 0 h 110"/>
                  <a:gd name="T4" fmla="*/ 41 w 111"/>
                  <a:gd name="T5" fmla="*/ 110 h 110"/>
                  <a:gd name="T6" fmla="*/ 0 w 111"/>
                  <a:gd name="T7" fmla="*/ 6 h 11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</a:cxnLst>
                <a:rect l="0" t="0" r="r" b="b"/>
                <a:pathLst>
                  <a:path w="111" h="110">
                    <a:moveTo>
                      <a:pt x="0" y="6"/>
                    </a:moveTo>
                    <a:lnTo>
                      <a:pt x="111" y="0"/>
                    </a:lnTo>
                    <a:lnTo>
                      <a:pt x="41" y="110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</p:grpSp>
        <p:grpSp>
          <p:nvGrpSpPr>
            <p:cNvPr id="26" name="Group 15">
              <a:extLst>
                <a:ext uri="{FF2B5EF4-FFF2-40B4-BE49-F238E27FC236}">
                  <a16:creationId xmlns:a16="http://schemas.microsoft.com/office/drawing/2014/main" id="{ABB71E14-03D5-4080-DD22-62EF9ED6E944}"/>
                </a:ext>
              </a:extLst>
            </p:cNvPr>
            <p:cNvGrpSpPr/>
            <p:nvPr/>
          </p:nvGrpSpPr>
          <p:grpSpPr>
            <a:xfrm>
              <a:off x="5026830" y="2651815"/>
              <a:ext cx="1899511" cy="1832864"/>
              <a:chOff x="3803617" y="2916789"/>
              <a:chExt cx="1865567" cy="1800110"/>
            </a:xfrm>
            <a:grpFill/>
          </p:grpSpPr>
          <p:sp>
            <p:nvSpPr>
              <p:cNvPr id="27" name="Freeform 5630">
                <a:extLst>
                  <a:ext uri="{FF2B5EF4-FFF2-40B4-BE49-F238E27FC236}">
                    <a16:creationId xmlns:a16="http://schemas.microsoft.com/office/drawing/2014/main" id="{A23A028C-8C0C-F948-BFFE-5C55BD9204DD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4892410" y="2986611"/>
                <a:ext cx="776774" cy="1501182"/>
              </a:xfrm>
              <a:custGeom>
                <a:avLst/>
                <a:gdLst>
                  <a:gd name="T0" fmla="*/ 409 w 711"/>
                  <a:gd name="T1" fmla="*/ 1311 h 1374"/>
                  <a:gd name="T2" fmla="*/ 393 w 711"/>
                  <a:gd name="T3" fmla="*/ 1190 h 1374"/>
                  <a:gd name="T4" fmla="*/ 409 w 711"/>
                  <a:gd name="T5" fmla="*/ 1082 h 1374"/>
                  <a:gd name="T6" fmla="*/ 427 w 711"/>
                  <a:gd name="T7" fmla="*/ 1011 h 1374"/>
                  <a:gd name="T8" fmla="*/ 421 w 711"/>
                  <a:gd name="T9" fmla="*/ 919 h 1374"/>
                  <a:gd name="T10" fmla="*/ 378 w 711"/>
                  <a:gd name="T11" fmla="*/ 850 h 1374"/>
                  <a:gd name="T12" fmla="*/ 362 w 711"/>
                  <a:gd name="T13" fmla="*/ 770 h 1374"/>
                  <a:gd name="T14" fmla="*/ 288 w 711"/>
                  <a:gd name="T15" fmla="*/ 747 h 1374"/>
                  <a:gd name="T16" fmla="*/ 244 w 711"/>
                  <a:gd name="T17" fmla="*/ 778 h 1374"/>
                  <a:gd name="T18" fmla="*/ 181 w 711"/>
                  <a:gd name="T19" fmla="*/ 770 h 1374"/>
                  <a:gd name="T20" fmla="*/ 121 w 711"/>
                  <a:gd name="T21" fmla="*/ 739 h 1374"/>
                  <a:gd name="T22" fmla="*/ 64 w 711"/>
                  <a:gd name="T23" fmla="*/ 713 h 1374"/>
                  <a:gd name="T24" fmla="*/ 16 w 711"/>
                  <a:gd name="T25" fmla="*/ 625 h 1374"/>
                  <a:gd name="T26" fmla="*/ 18 w 711"/>
                  <a:gd name="T27" fmla="*/ 558 h 1374"/>
                  <a:gd name="T28" fmla="*/ 14 w 711"/>
                  <a:gd name="T29" fmla="*/ 492 h 1374"/>
                  <a:gd name="T30" fmla="*/ 56 w 711"/>
                  <a:gd name="T31" fmla="*/ 405 h 1374"/>
                  <a:gd name="T32" fmla="*/ 95 w 711"/>
                  <a:gd name="T33" fmla="*/ 371 h 1374"/>
                  <a:gd name="T34" fmla="*/ 135 w 711"/>
                  <a:gd name="T35" fmla="*/ 323 h 1374"/>
                  <a:gd name="T36" fmla="*/ 193 w 711"/>
                  <a:gd name="T37" fmla="*/ 302 h 1374"/>
                  <a:gd name="T38" fmla="*/ 276 w 711"/>
                  <a:gd name="T39" fmla="*/ 288 h 1374"/>
                  <a:gd name="T40" fmla="*/ 316 w 711"/>
                  <a:gd name="T41" fmla="*/ 325 h 1374"/>
                  <a:gd name="T42" fmla="*/ 372 w 711"/>
                  <a:gd name="T43" fmla="*/ 349 h 1374"/>
                  <a:gd name="T44" fmla="*/ 413 w 711"/>
                  <a:gd name="T45" fmla="*/ 373 h 1374"/>
                  <a:gd name="T46" fmla="*/ 467 w 711"/>
                  <a:gd name="T47" fmla="*/ 365 h 1374"/>
                  <a:gd name="T48" fmla="*/ 499 w 711"/>
                  <a:gd name="T49" fmla="*/ 347 h 1374"/>
                  <a:gd name="T50" fmla="*/ 479 w 711"/>
                  <a:gd name="T51" fmla="*/ 304 h 1374"/>
                  <a:gd name="T52" fmla="*/ 437 w 711"/>
                  <a:gd name="T53" fmla="*/ 296 h 1374"/>
                  <a:gd name="T54" fmla="*/ 443 w 711"/>
                  <a:gd name="T55" fmla="*/ 236 h 1374"/>
                  <a:gd name="T56" fmla="*/ 374 w 711"/>
                  <a:gd name="T57" fmla="*/ 194 h 1374"/>
                  <a:gd name="T58" fmla="*/ 370 w 711"/>
                  <a:gd name="T59" fmla="*/ 274 h 1374"/>
                  <a:gd name="T60" fmla="*/ 328 w 711"/>
                  <a:gd name="T61" fmla="*/ 240 h 1374"/>
                  <a:gd name="T62" fmla="*/ 334 w 711"/>
                  <a:gd name="T63" fmla="*/ 296 h 1374"/>
                  <a:gd name="T64" fmla="*/ 272 w 711"/>
                  <a:gd name="T65" fmla="*/ 248 h 1374"/>
                  <a:gd name="T66" fmla="*/ 229 w 711"/>
                  <a:gd name="T67" fmla="*/ 226 h 1374"/>
                  <a:gd name="T68" fmla="*/ 141 w 711"/>
                  <a:gd name="T69" fmla="*/ 190 h 1374"/>
                  <a:gd name="T70" fmla="*/ 163 w 711"/>
                  <a:gd name="T71" fmla="*/ 109 h 1374"/>
                  <a:gd name="T72" fmla="*/ 225 w 711"/>
                  <a:gd name="T73" fmla="*/ 99 h 1374"/>
                  <a:gd name="T74" fmla="*/ 209 w 711"/>
                  <a:gd name="T75" fmla="*/ 37 h 1374"/>
                  <a:gd name="T76" fmla="*/ 258 w 711"/>
                  <a:gd name="T77" fmla="*/ 31 h 1374"/>
                  <a:gd name="T78" fmla="*/ 374 w 711"/>
                  <a:gd name="T79" fmla="*/ 115 h 1374"/>
                  <a:gd name="T80" fmla="*/ 481 w 711"/>
                  <a:gd name="T81" fmla="*/ 208 h 1374"/>
                  <a:gd name="T82" fmla="*/ 558 w 711"/>
                  <a:gd name="T83" fmla="*/ 290 h 1374"/>
                  <a:gd name="T84" fmla="*/ 592 w 711"/>
                  <a:gd name="T85" fmla="*/ 341 h 1374"/>
                  <a:gd name="T86" fmla="*/ 622 w 711"/>
                  <a:gd name="T87" fmla="*/ 385 h 1374"/>
                  <a:gd name="T88" fmla="*/ 646 w 711"/>
                  <a:gd name="T89" fmla="*/ 431 h 1374"/>
                  <a:gd name="T90" fmla="*/ 672 w 711"/>
                  <a:gd name="T91" fmla="*/ 476 h 1374"/>
                  <a:gd name="T92" fmla="*/ 656 w 711"/>
                  <a:gd name="T93" fmla="*/ 594 h 1374"/>
                  <a:gd name="T94" fmla="*/ 628 w 711"/>
                  <a:gd name="T95" fmla="*/ 536 h 1374"/>
                  <a:gd name="T96" fmla="*/ 606 w 711"/>
                  <a:gd name="T97" fmla="*/ 494 h 1374"/>
                  <a:gd name="T98" fmla="*/ 572 w 711"/>
                  <a:gd name="T99" fmla="*/ 433 h 1374"/>
                  <a:gd name="T100" fmla="*/ 590 w 711"/>
                  <a:gd name="T101" fmla="*/ 492 h 1374"/>
                  <a:gd name="T102" fmla="*/ 630 w 711"/>
                  <a:gd name="T103" fmla="*/ 550 h 1374"/>
                  <a:gd name="T104" fmla="*/ 666 w 711"/>
                  <a:gd name="T105" fmla="*/ 623 h 1374"/>
                  <a:gd name="T106" fmla="*/ 711 w 711"/>
                  <a:gd name="T107" fmla="*/ 755 h 1374"/>
                  <a:gd name="T108" fmla="*/ 695 w 711"/>
                  <a:gd name="T109" fmla="*/ 830 h 1374"/>
                  <a:gd name="T110" fmla="*/ 682 w 711"/>
                  <a:gd name="T111" fmla="*/ 900 h 1374"/>
                  <a:gd name="T112" fmla="*/ 662 w 711"/>
                  <a:gd name="T113" fmla="*/ 1055 h 1374"/>
                  <a:gd name="T114" fmla="*/ 606 w 711"/>
                  <a:gd name="T115" fmla="*/ 1152 h 1374"/>
                  <a:gd name="T116" fmla="*/ 566 w 711"/>
                  <a:gd name="T117" fmla="*/ 1229 h 1374"/>
                  <a:gd name="T118" fmla="*/ 558 w 711"/>
                  <a:gd name="T119" fmla="*/ 1281 h 1374"/>
                  <a:gd name="T120" fmla="*/ 479 w 711"/>
                  <a:gd name="T121" fmla="*/ 1351 h 1374"/>
                  <a:gd name="T122" fmla="*/ 292 w 711"/>
                  <a:gd name="T123" fmla="*/ 220 h 1374"/>
                  <a:gd name="T124" fmla="*/ 258 w 711"/>
                  <a:gd name="T125" fmla="*/ 190 h 137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  <a:cxn ang="0">
                    <a:pos x="T124" y="T125"/>
                  </a:cxn>
                </a:cxnLst>
                <a:rect l="0" t="0" r="r" b="b"/>
                <a:pathLst>
                  <a:path w="711" h="1374">
                    <a:moveTo>
                      <a:pt x="389" y="1374"/>
                    </a:moveTo>
                    <a:lnTo>
                      <a:pt x="389" y="1374"/>
                    </a:lnTo>
                    <a:lnTo>
                      <a:pt x="387" y="1374"/>
                    </a:lnTo>
                    <a:lnTo>
                      <a:pt x="384" y="1372"/>
                    </a:lnTo>
                    <a:lnTo>
                      <a:pt x="384" y="1372"/>
                    </a:lnTo>
                    <a:lnTo>
                      <a:pt x="382" y="1368"/>
                    </a:lnTo>
                    <a:lnTo>
                      <a:pt x="380" y="1367"/>
                    </a:lnTo>
                    <a:lnTo>
                      <a:pt x="380" y="1359"/>
                    </a:lnTo>
                    <a:lnTo>
                      <a:pt x="380" y="1359"/>
                    </a:lnTo>
                    <a:lnTo>
                      <a:pt x="380" y="1357"/>
                    </a:lnTo>
                    <a:lnTo>
                      <a:pt x="380" y="1357"/>
                    </a:lnTo>
                    <a:lnTo>
                      <a:pt x="378" y="1349"/>
                    </a:lnTo>
                    <a:lnTo>
                      <a:pt x="380" y="1343"/>
                    </a:lnTo>
                    <a:lnTo>
                      <a:pt x="382" y="1341"/>
                    </a:lnTo>
                    <a:lnTo>
                      <a:pt x="382" y="1341"/>
                    </a:lnTo>
                    <a:lnTo>
                      <a:pt x="387" y="1337"/>
                    </a:lnTo>
                    <a:lnTo>
                      <a:pt x="387" y="1337"/>
                    </a:lnTo>
                    <a:lnTo>
                      <a:pt x="393" y="1335"/>
                    </a:lnTo>
                    <a:lnTo>
                      <a:pt x="393" y="1335"/>
                    </a:lnTo>
                    <a:lnTo>
                      <a:pt x="401" y="1331"/>
                    </a:lnTo>
                    <a:lnTo>
                      <a:pt x="401" y="1331"/>
                    </a:lnTo>
                    <a:lnTo>
                      <a:pt x="407" y="1329"/>
                    </a:lnTo>
                    <a:lnTo>
                      <a:pt x="409" y="1325"/>
                    </a:lnTo>
                    <a:lnTo>
                      <a:pt x="409" y="1325"/>
                    </a:lnTo>
                    <a:lnTo>
                      <a:pt x="409" y="1317"/>
                    </a:lnTo>
                    <a:lnTo>
                      <a:pt x="409" y="1311"/>
                    </a:lnTo>
                    <a:lnTo>
                      <a:pt x="409" y="1311"/>
                    </a:lnTo>
                    <a:lnTo>
                      <a:pt x="405" y="1303"/>
                    </a:lnTo>
                    <a:lnTo>
                      <a:pt x="401" y="1297"/>
                    </a:lnTo>
                    <a:lnTo>
                      <a:pt x="401" y="1297"/>
                    </a:lnTo>
                    <a:lnTo>
                      <a:pt x="397" y="1293"/>
                    </a:lnTo>
                    <a:lnTo>
                      <a:pt x="393" y="1293"/>
                    </a:lnTo>
                    <a:lnTo>
                      <a:pt x="393" y="1217"/>
                    </a:lnTo>
                    <a:lnTo>
                      <a:pt x="401" y="1219"/>
                    </a:lnTo>
                    <a:lnTo>
                      <a:pt x="401" y="1219"/>
                    </a:lnTo>
                    <a:lnTo>
                      <a:pt x="401" y="1219"/>
                    </a:lnTo>
                    <a:lnTo>
                      <a:pt x="401" y="1219"/>
                    </a:lnTo>
                    <a:lnTo>
                      <a:pt x="403" y="1216"/>
                    </a:lnTo>
                    <a:lnTo>
                      <a:pt x="403" y="1206"/>
                    </a:lnTo>
                    <a:lnTo>
                      <a:pt x="403" y="1206"/>
                    </a:lnTo>
                    <a:lnTo>
                      <a:pt x="401" y="1200"/>
                    </a:lnTo>
                    <a:lnTo>
                      <a:pt x="401" y="1200"/>
                    </a:lnTo>
                    <a:lnTo>
                      <a:pt x="403" y="1200"/>
                    </a:lnTo>
                    <a:lnTo>
                      <a:pt x="403" y="1200"/>
                    </a:lnTo>
                    <a:lnTo>
                      <a:pt x="403" y="1198"/>
                    </a:lnTo>
                    <a:lnTo>
                      <a:pt x="403" y="1198"/>
                    </a:lnTo>
                    <a:lnTo>
                      <a:pt x="403" y="1198"/>
                    </a:lnTo>
                    <a:lnTo>
                      <a:pt x="403" y="1198"/>
                    </a:lnTo>
                    <a:lnTo>
                      <a:pt x="401" y="1198"/>
                    </a:lnTo>
                    <a:lnTo>
                      <a:pt x="401" y="1198"/>
                    </a:lnTo>
                    <a:lnTo>
                      <a:pt x="401" y="1198"/>
                    </a:lnTo>
                    <a:lnTo>
                      <a:pt x="401" y="1198"/>
                    </a:lnTo>
                    <a:lnTo>
                      <a:pt x="395" y="1196"/>
                    </a:lnTo>
                    <a:lnTo>
                      <a:pt x="393" y="1190"/>
                    </a:lnTo>
                    <a:lnTo>
                      <a:pt x="393" y="1186"/>
                    </a:lnTo>
                    <a:lnTo>
                      <a:pt x="393" y="1186"/>
                    </a:lnTo>
                    <a:lnTo>
                      <a:pt x="393" y="1184"/>
                    </a:lnTo>
                    <a:lnTo>
                      <a:pt x="393" y="1184"/>
                    </a:lnTo>
                    <a:lnTo>
                      <a:pt x="395" y="1182"/>
                    </a:lnTo>
                    <a:lnTo>
                      <a:pt x="395" y="1182"/>
                    </a:lnTo>
                    <a:lnTo>
                      <a:pt x="393" y="1182"/>
                    </a:lnTo>
                    <a:lnTo>
                      <a:pt x="393" y="1182"/>
                    </a:lnTo>
                    <a:lnTo>
                      <a:pt x="391" y="1182"/>
                    </a:lnTo>
                    <a:lnTo>
                      <a:pt x="385" y="1182"/>
                    </a:lnTo>
                    <a:lnTo>
                      <a:pt x="385" y="1104"/>
                    </a:lnTo>
                    <a:lnTo>
                      <a:pt x="393" y="1106"/>
                    </a:lnTo>
                    <a:lnTo>
                      <a:pt x="393" y="1106"/>
                    </a:lnTo>
                    <a:lnTo>
                      <a:pt x="393" y="1106"/>
                    </a:lnTo>
                    <a:lnTo>
                      <a:pt x="393" y="1106"/>
                    </a:lnTo>
                    <a:lnTo>
                      <a:pt x="393" y="1104"/>
                    </a:lnTo>
                    <a:lnTo>
                      <a:pt x="393" y="1104"/>
                    </a:lnTo>
                    <a:lnTo>
                      <a:pt x="395" y="1098"/>
                    </a:lnTo>
                    <a:lnTo>
                      <a:pt x="395" y="1098"/>
                    </a:lnTo>
                    <a:lnTo>
                      <a:pt x="399" y="1094"/>
                    </a:lnTo>
                    <a:lnTo>
                      <a:pt x="399" y="1094"/>
                    </a:lnTo>
                    <a:lnTo>
                      <a:pt x="401" y="1090"/>
                    </a:lnTo>
                    <a:lnTo>
                      <a:pt x="401" y="1088"/>
                    </a:lnTo>
                    <a:lnTo>
                      <a:pt x="401" y="1080"/>
                    </a:lnTo>
                    <a:lnTo>
                      <a:pt x="409" y="1082"/>
                    </a:lnTo>
                    <a:lnTo>
                      <a:pt x="409" y="1082"/>
                    </a:lnTo>
                    <a:lnTo>
                      <a:pt x="409" y="1082"/>
                    </a:lnTo>
                    <a:lnTo>
                      <a:pt x="409" y="1082"/>
                    </a:lnTo>
                    <a:lnTo>
                      <a:pt x="409" y="1082"/>
                    </a:lnTo>
                    <a:lnTo>
                      <a:pt x="409" y="1082"/>
                    </a:lnTo>
                    <a:lnTo>
                      <a:pt x="411" y="1078"/>
                    </a:lnTo>
                    <a:lnTo>
                      <a:pt x="411" y="1049"/>
                    </a:lnTo>
                    <a:lnTo>
                      <a:pt x="417" y="1051"/>
                    </a:lnTo>
                    <a:lnTo>
                      <a:pt x="417" y="1051"/>
                    </a:lnTo>
                    <a:lnTo>
                      <a:pt x="417" y="1051"/>
                    </a:lnTo>
                    <a:lnTo>
                      <a:pt x="417" y="1051"/>
                    </a:lnTo>
                    <a:lnTo>
                      <a:pt x="419" y="1047"/>
                    </a:lnTo>
                    <a:lnTo>
                      <a:pt x="419" y="1047"/>
                    </a:lnTo>
                    <a:lnTo>
                      <a:pt x="423" y="1039"/>
                    </a:lnTo>
                    <a:lnTo>
                      <a:pt x="423" y="1039"/>
                    </a:lnTo>
                    <a:lnTo>
                      <a:pt x="427" y="1033"/>
                    </a:lnTo>
                    <a:lnTo>
                      <a:pt x="427" y="1033"/>
                    </a:lnTo>
                    <a:lnTo>
                      <a:pt x="431" y="1029"/>
                    </a:lnTo>
                    <a:lnTo>
                      <a:pt x="433" y="1025"/>
                    </a:lnTo>
                    <a:lnTo>
                      <a:pt x="433" y="1025"/>
                    </a:lnTo>
                    <a:lnTo>
                      <a:pt x="435" y="1023"/>
                    </a:lnTo>
                    <a:lnTo>
                      <a:pt x="435" y="1023"/>
                    </a:lnTo>
                    <a:lnTo>
                      <a:pt x="435" y="1021"/>
                    </a:lnTo>
                    <a:lnTo>
                      <a:pt x="439" y="1019"/>
                    </a:lnTo>
                    <a:lnTo>
                      <a:pt x="439" y="1019"/>
                    </a:lnTo>
                    <a:lnTo>
                      <a:pt x="437" y="1015"/>
                    </a:lnTo>
                    <a:lnTo>
                      <a:pt x="437" y="1015"/>
                    </a:lnTo>
                    <a:lnTo>
                      <a:pt x="431" y="1013"/>
                    </a:lnTo>
                    <a:lnTo>
                      <a:pt x="427" y="1011"/>
                    </a:lnTo>
                    <a:lnTo>
                      <a:pt x="427" y="985"/>
                    </a:lnTo>
                    <a:lnTo>
                      <a:pt x="433" y="985"/>
                    </a:lnTo>
                    <a:lnTo>
                      <a:pt x="433" y="985"/>
                    </a:lnTo>
                    <a:lnTo>
                      <a:pt x="433" y="985"/>
                    </a:lnTo>
                    <a:lnTo>
                      <a:pt x="433" y="985"/>
                    </a:lnTo>
                    <a:lnTo>
                      <a:pt x="435" y="979"/>
                    </a:lnTo>
                    <a:lnTo>
                      <a:pt x="435" y="973"/>
                    </a:lnTo>
                    <a:lnTo>
                      <a:pt x="435" y="973"/>
                    </a:lnTo>
                    <a:lnTo>
                      <a:pt x="435" y="969"/>
                    </a:lnTo>
                    <a:lnTo>
                      <a:pt x="435" y="949"/>
                    </a:lnTo>
                    <a:lnTo>
                      <a:pt x="435" y="949"/>
                    </a:lnTo>
                    <a:lnTo>
                      <a:pt x="435" y="949"/>
                    </a:lnTo>
                    <a:lnTo>
                      <a:pt x="435" y="949"/>
                    </a:lnTo>
                    <a:lnTo>
                      <a:pt x="435" y="949"/>
                    </a:lnTo>
                    <a:lnTo>
                      <a:pt x="433" y="947"/>
                    </a:lnTo>
                    <a:lnTo>
                      <a:pt x="433" y="947"/>
                    </a:lnTo>
                    <a:lnTo>
                      <a:pt x="431" y="947"/>
                    </a:lnTo>
                    <a:lnTo>
                      <a:pt x="427" y="947"/>
                    </a:lnTo>
                    <a:lnTo>
                      <a:pt x="427" y="939"/>
                    </a:lnTo>
                    <a:lnTo>
                      <a:pt x="427" y="939"/>
                    </a:lnTo>
                    <a:lnTo>
                      <a:pt x="427" y="931"/>
                    </a:lnTo>
                    <a:lnTo>
                      <a:pt x="427" y="929"/>
                    </a:lnTo>
                    <a:lnTo>
                      <a:pt x="427" y="929"/>
                    </a:lnTo>
                    <a:lnTo>
                      <a:pt x="427" y="923"/>
                    </a:lnTo>
                    <a:lnTo>
                      <a:pt x="427" y="923"/>
                    </a:lnTo>
                    <a:lnTo>
                      <a:pt x="421" y="919"/>
                    </a:lnTo>
                    <a:lnTo>
                      <a:pt x="421" y="919"/>
                    </a:lnTo>
                    <a:lnTo>
                      <a:pt x="417" y="917"/>
                    </a:lnTo>
                    <a:lnTo>
                      <a:pt x="417" y="917"/>
                    </a:lnTo>
                    <a:lnTo>
                      <a:pt x="413" y="912"/>
                    </a:lnTo>
                    <a:lnTo>
                      <a:pt x="411" y="908"/>
                    </a:lnTo>
                    <a:lnTo>
                      <a:pt x="411" y="908"/>
                    </a:lnTo>
                    <a:lnTo>
                      <a:pt x="411" y="900"/>
                    </a:lnTo>
                    <a:lnTo>
                      <a:pt x="411" y="900"/>
                    </a:lnTo>
                    <a:lnTo>
                      <a:pt x="411" y="896"/>
                    </a:lnTo>
                    <a:lnTo>
                      <a:pt x="411" y="896"/>
                    </a:lnTo>
                    <a:lnTo>
                      <a:pt x="405" y="884"/>
                    </a:lnTo>
                    <a:lnTo>
                      <a:pt x="405" y="884"/>
                    </a:lnTo>
                    <a:lnTo>
                      <a:pt x="401" y="876"/>
                    </a:lnTo>
                    <a:lnTo>
                      <a:pt x="401" y="876"/>
                    </a:lnTo>
                    <a:lnTo>
                      <a:pt x="395" y="870"/>
                    </a:lnTo>
                    <a:lnTo>
                      <a:pt x="395" y="870"/>
                    </a:lnTo>
                    <a:lnTo>
                      <a:pt x="393" y="868"/>
                    </a:lnTo>
                    <a:lnTo>
                      <a:pt x="393" y="868"/>
                    </a:lnTo>
                    <a:lnTo>
                      <a:pt x="387" y="864"/>
                    </a:lnTo>
                    <a:lnTo>
                      <a:pt x="385" y="860"/>
                    </a:lnTo>
                    <a:lnTo>
                      <a:pt x="385" y="858"/>
                    </a:lnTo>
                    <a:lnTo>
                      <a:pt x="385" y="858"/>
                    </a:lnTo>
                    <a:lnTo>
                      <a:pt x="385" y="856"/>
                    </a:lnTo>
                    <a:lnTo>
                      <a:pt x="385" y="856"/>
                    </a:lnTo>
                    <a:lnTo>
                      <a:pt x="385" y="852"/>
                    </a:lnTo>
                    <a:lnTo>
                      <a:pt x="385" y="852"/>
                    </a:lnTo>
                    <a:lnTo>
                      <a:pt x="384" y="852"/>
                    </a:lnTo>
                    <a:lnTo>
                      <a:pt x="378" y="850"/>
                    </a:lnTo>
                    <a:lnTo>
                      <a:pt x="378" y="846"/>
                    </a:lnTo>
                    <a:lnTo>
                      <a:pt x="378" y="832"/>
                    </a:lnTo>
                    <a:lnTo>
                      <a:pt x="385" y="832"/>
                    </a:lnTo>
                    <a:lnTo>
                      <a:pt x="385" y="832"/>
                    </a:lnTo>
                    <a:lnTo>
                      <a:pt x="385" y="832"/>
                    </a:lnTo>
                    <a:lnTo>
                      <a:pt x="385" y="832"/>
                    </a:lnTo>
                    <a:lnTo>
                      <a:pt x="387" y="828"/>
                    </a:lnTo>
                    <a:lnTo>
                      <a:pt x="387" y="828"/>
                    </a:lnTo>
                    <a:lnTo>
                      <a:pt x="389" y="822"/>
                    </a:lnTo>
                    <a:lnTo>
                      <a:pt x="389" y="822"/>
                    </a:lnTo>
                    <a:lnTo>
                      <a:pt x="391" y="818"/>
                    </a:lnTo>
                    <a:lnTo>
                      <a:pt x="391" y="818"/>
                    </a:lnTo>
                    <a:lnTo>
                      <a:pt x="393" y="812"/>
                    </a:lnTo>
                    <a:lnTo>
                      <a:pt x="395" y="806"/>
                    </a:lnTo>
                    <a:lnTo>
                      <a:pt x="395" y="806"/>
                    </a:lnTo>
                    <a:lnTo>
                      <a:pt x="393" y="800"/>
                    </a:lnTo>
                    <a:lnTo>
                      <a:pt x="391" y="794"/>
                    </a:lnTo>
                    <a:lnTo>
                      <a:pt x="385" y="786"/>
                    </a:lnTo>
                    <a:lnTo>
                      <a:pt x="385" y="786"/>
                    </a:lnTo>
                    <a:lnTo>
                      <a:pt x="378" y="780"/>
                    </a:lnTo>
                    <a:lnTo>
                      <a:pt x="378" y="780"/>
                    </a:lnTo>
                    <a:lnTo>
                      <a:pt x="374" y="778"/>
                    </a:lnTo>
                    <a:lnTo>
                      <a:pt x="368" y="778"/>
                    </a:lnTo>
                    <a:lnTo>
                      <a:pt x="362" y="778"/>
                    </a:lnTo>
                    <a:lnTo>
                      <a:pt x="362" y="772"/>
                    </a:lnTo>
                    <a:lnTo>
                      <a:pt x="362" y="772"/>
                    </a:lnTo>
                    <a:lnTo>
                      <a:pt x="362" y="770"/>
                    </a:lnTo>
                    <a:lnTo>
                      <a:pt x="362" y="770"/>
                    </a:lnTo>
                    <a:lnTo>
                      <a:pt x="362" y="770"/>
                    </a:lnTo>
                    <a:lnTo>
                      <a:pt x="362" y="770"/>
                    </a:lnTo>
                    <a:lnTo>
                      <a:pt x="354" y="770"/>
                    </a:lnTo>
                    <a:lnTo>
                      <a:pt x="354" y="770"/>
                    </a:lnTo>
                    <a:lnTo>
                      <a:pt x="348" y="770"/>
                    </a:lnTo>
                    <a:lnTo>
                      <a:pt x="348" y="770"/>
                    </a:lnTo>
                    <a:lnTo>
                      <a:pt x="344" y="770"/>
                    </a:lnTo>
                    <a:lnTo>
                      <a:pt x="336" y="770"/>
                    </a:lnTo>
                    <a:lnTo>
                      <a:pt x="338" y="765"/>
                    </a:lnTo>
                    <a:lnTo>
                      <a:pt x="338" y="765"/>
                    </a:lnTo>
                    <a:lnTo>
                      <a:pt x="338" y="763"/>
                    </a:lnTo>
                    <a:lnTo>
                      <a:pt x="338" y="763"/>
                    </a:lnTo>
                    <a:lnTo>
                      <a:pt x="338" y="763"/>
                    </a:lnTo>
                    <a:lnTo>
                      <a:pt x="338" y="763"/>
                    </a:lnTo>
                    <a:lnTo>
                      <a:pt x="332" y="763"/>
                    </a:lnTo>
                    <a:lnTo>
                      <a:pt x="330" y="763"/>
                    </a:lnTo>
                    <a:lnTo>
                      <a:pt x="330" y="763"/>
                    </a:lnTo>
                    <a:lnTo>
                      <a:pt x="326" y="763"/>
                    </a:lnTo>
                    <a:lnTo>
                      <a:pt x="324" y="761"/>
                    </a:lnTo>
                    <a:lnTo>
                      <a:pt x="322" y="757"/>
                    </a:lnTo>
                    <a:lnTo>
                      <a:pt x="322" y="757"/>
                    </a:lnTo>
                    <a:lnTo>
                      <a:pt x="320" y="753"/>
                    </a:lnTo>
                    <a:lnTo>
                      <a:pt x="316" y="749"/>
                    </a:lnTo>
                    <a:lnTo>
                      <a:pt x="312" y="747"/>
                    </a:lnTo>
                    <a:lnTo>
                      <a:pt x="306" y="747"/>
                    </a:lnTo>
                    <a:lnTo>
                      <a:pt x="288" y="747"/>
                    </a:lnTo>
                    <a:lnTo>
                      <a:pt x="288" y="747"/>
                    </a:lnTo>
                    <a:lnTo>
                      <a:pt x="286" y="747"/>
                    </a:lnTo>
                    <a:lnTo>
                      <a:pt x="286" y="747"/>
                    </a:lnTo>
                    <a:lnTo>
                      <a:pt x="282" y="747"/>
                    </a:lnTo>
                    <a:lnTo>
                      <a:pt x="282" y="747"/>
                    </a:lnTo>
                    <a:lnTo>
                      <a:pt x="276" y="749"/>
                    </a:lnTo>
                    <a:lnTo>
                      <a:pt x="276" y="749"/>
                    </a:lnTo>
                    <a:lnTo>
                      <a:pt x="272" y="751"/>
                    </a:lnTo>
                    <a:lnTo>
                      <a:pt x="270" y="755"/>
                    </a:lnTo>
                    <a:lnTo>
                      <a:pt x="270" y="755"/>
                    </a:lnTo>
                    <a:lnTo>
                      <a:pt x="268" y="759"/>
                    </a:lnTo>
                    <a:lnTo>
                      <a:pt x="268" y="765"/>
                    </a:lnTo>
                    <a:lnTo>
                      <a:pt x="268" y="772"/>
                    </a:lnTo>
                    <a:lnTo>
                      <a:pt x="262" y="770"/>
                    </a:lnTo>
                    <a:lnTo>
                      <a:pt x="262" y="770"/>
                    </a:lnTo>
                    <a:lnTo>
                      <a:pt x="260" y="770"/>
                    </a:lnTo>
                    <a:lnTo>
                      <a:pt x="260" y="770"/>
                    </a:lnTo>
                    <a:lnTo>
                      <a:pt x="260" y="770"/>
                    </a:lnTo>
                    <a:lnTo>
                      <a:pt x="260" y="770"/>
                    </a:lnTo>
                    <a:lnTo>
                      <a:pt x="260" y="772"/>
                    </a:lnTo>
                    <a:lnTo>
                      <a:pt x="260" y="772"/>
                    </a:lnTo>
                    <a:lnTo>
                      <a:pt x="258" y="776"/>
                    </a:lnTo>
                    <a:lnTo>
                      <a:pt x="254" y="778"/>
                    </a:lnTo>
                    <a:lnTo>
                      <a:pt x="250" y="778"/>
                    </a:lnTo>
                    <a:lnTo>
                      <a:pt x="250" y="778"/>
                    </a:lnTo>
                    <a:lnTo>
                      <a:pt x="246" y="778"/>
                    </a:lnTo>
                    <a:lnTo>
                      <a:pt x="244" y="778"/>
                    </a:lnTo>
                    <a:lnTo>
                      <a:pt x="244" y="778"/>
                    </a:lnTo>
                    <a:lnTo>
                      <a:pt x="238" y="778"/>
                    </a:lnTo>
                    <a:lnTo>
                      <a:pt x="236" y="778"/>
                    </a:lnTo>
                    <a:lnTo>
                      <a:pt x="236" y="778"/>
                    </a:lnTo>
                    <a:lnTo>
                      <a:pt x="230" y="778"/>
                    </a:lnTo>
                    <a:lnTo>
                      <a:pt x="225" y="776"/>
                    </a:lnTo>
                    <a:lnTo>
                      <a:pt x="225" y="776"/>
                    </a:lnTo>
                    <a:lnTo>
                      <a:pt x="219" y="770"/>
                    </a:lnTo>
                    <a:lnTo>
                      <a:pt x="219" y="770"/>
                    </a:lnTo>
                    <a:lnTo>
                      <a:pt x="217" y="770"/>
                    </a:lnTo>
                    <a:lnTo>
                      <a:pt x="217" y="770"/>
                    </a:lnTo>
                    <a:lnTo>
                      <a:pt x="215" y="770"/>
                    </a:lnTo>
                    <a:lnTo>
                      <a:pt x="207" y="770"/>
                    </a:lnTo>
                    <a:lnTo>
                      <a:pt x="207" y="770"/>
                    </a:lnTo>
                    <a:lnTo>
                      <a:pt x="203" y="768"/>
                    </a:lnTo>
                    <a:lnTo>
                      <a:pt x="201" y="766"/>
                    </a:lnTo>
                    <a:lnTo>
                      <a:pt x="201" y="766"/>
                    </a:lnTo>
                    <a:lnTo>
                      <a:pt x="201" y="765"/>
                    </a:lnTo>
                    <a:lnTo>
                      <a:pt x="201" y="765"/>
                    </a:lnTo>
                    <a:lnTo>
                      <a:pt x="193" y="763"/>
                    </a:lnTo>
                    <a:lnTo>
                      <a:pt x="193" y="763"/>
                    </a:lnTo>
                    <a:lnTo>
                      <a:pt x="187" y="765"/>
                    </a:lnTo>
                    <a:lnTo>
                      <a:pt x="187" y="765"/>
                    </a:lnTo>
                    <a:lnTo>
                      <a:pt x="187" y="765"/>
                    </a:lnTo>
                    <a:lnTo>
                      <a:pt x="187" y="770"/>
                    </a:lnTo>
                    <a:lnTo>
                      <a:pt x="181" y="770"/>
                    </a:lnTo>
                    <a:lnTo>
                      <a:pt x="181" y="770"/>
                    </a:lnTo>
                    <a:lnTo>
                      <a:pt x="173" y="770"/>
                    </a:lnTo>
                    <a:lnTo>
                      <a:pt x="173" y="770"/>
                    </a:lnTo>
                    <a:lnTo>
                      <a:pt x="173" y="770"/>
                    </a:lnTo>
                    <a:lnTo>
                      <a:pt x="171" y="774"/>
                    </a:lnTo>
                    <a:lnTo>
                      <a:pt x="171" y="778"/>
                    </a:lnTo>
                    <a:lnTo>
                      <a:pt x="159" y="778"/>
                    </a:lnTo>
                    <a:lnTo>
                      <a:pt x="159" y="778"/>
                    </a:lnTo>
                    <a:lnTo>
                      <a:pt x="155" y="778"/>
                    </a:lnTo>
                    <a:lnTo>
                      <a:pt x="153" y="776"/>
                    </a:lnTo>
                    <a:lnTo>
                      <a:pt x="153" y="772"/>
                    </a:lnTo>
                    <a:lnTo>
                      <a:pt x="153" y="772"/>
                    </a:lnTo>
                    <a:lnTo>
                      <a:pt x="153" y="772"/>
                    </a:lnTo>
                    <a:lnTo>
                      <a:pt x="153" y="772"/>
                    </a:lnTo>
                    <a:lnTo>
                      <a:pt x="149" y="768"/>
                    </a:lnTo>
                    <a:lnTo>
                      <a:pt x="149" y="768"/>
                    </a:lnTo>
                    <a:lnTo>
                      <a:pt x="145" y="765"/>
                    </a:lnTo>
                    <a:lnTo>
                      <a:pt x="139" y="763"/>
                    </a:lnTo>
                    <a:lnTo>
                      <a:pt x="139" y="763"/>
                    </a:lnTo>
                    <a:lnTo>
                      <a:pt x="131" y="759"/>
                    </a:lnTo>
                    <a:lnTo>
                      <a:pt x="125" y="751"/>
                    </a:lnTo>
                    <a:lnTo>
                      <a:pt x="123" y="749"/>
                    </a:lnTo>
                    <a:lnTo>
                      <a:pt x="123" y="749"/>
                    </a:lnTo>
                    <a:lnTo>
                      <a:pt x="121" y="745"/>
                    </a:lnTo>
                    <a:lnTo>
                      <a:pt x="121" y="739"/>
                    </a:lnTo>
                    <a:lnTo>
                      <a:pt x="121" y="739"/>
                    </a:lnTo>
                    <a:lnTo>
                      <a:pt x="121" y="739"/>
                    </a:lnTo>
                    <a:lnTo>
                      <a:pt x="121" y="739"/>
                    </a:lnTo>
                    <a:lnTo>
                      <a:pt x="117" y="739"/>
                    </a:lnTo>
                    <a:lnTo>
                      <a:pt x="117" y="739"/>
                    </a:lnTo>
                    <a:lnTo>
                      <a:pt x="117" y="739"/>
                    </a:lnTo>
                    <a:lnTo>
                      <a:pt x="117" y="739"/>
                    </a:lnTo>
                    <a:lnTo>
                      <a:pt x="115" y="739"/>
                    </a:lnTo>
                    <a:lnTo>
                      <a:pt x="115" y="739"/>
                    </a:lnTo>
                    <a:lnTo>
                      <a:pt x="113" y="739"/>
                    </a:lnTo>
                    <a:lnTo>
                      <a:pt x="113" y="739"/>
                    </a:lnTo>
                    <a:lnTo>
                      <a:pt x="109" y="739"/>
                    </a:lnTo>
                    <a:lnTo>
                      <a:pt x="105" y="737"/>
                    </a:lnTo>
                    <a:lnTo>
                      <a:pt x="103" y="733"/>
                    </a:lnTo>
                    <a:lnTo>
                      <a:pt x="103" y="733"/>
                    </a:lnTo>
                    <a:lnTo>
                      <a:pt x="101" y="731"/>
                    </a:lnTo>
                    <a:lnTo>
                      <a:pt x="91" y="731"/>
                    </a:lnTo>
                    <a:lnTo>
                      <a:pt x="85" y="731"/>
                    </a:lnTo>
                    <a:lnTo>
                      <a:pt x="79" y="731"/>
                    </a:lnTo>
                    <a:lnTo>
                      <a:pt x="79" y="725"/>
                    </a:lnTo>
                    <a:lnTo>
                      <a:pt x="79" y="725"/>
                    </a:lnTo>
                    <a:lnTo>
                      <a:pt x="79" y="723"/>
                    </a:lnTo>
                    <a:lnTo>
                      <a:pt x="79" y="723"/>
                    </a:lnTo>
                    <a:lnTo>
                      <a:pt x="76" y="723"/>
                    </a:lnTo>
                    <a:lnTo>
                      <a:pt x="76" y="723"/>
                    </a:lnTo>
                    <a:lnTo>
                      <a:pt x="74" y="721"/>
                    </a:lnTo>
                    <a:lnTo>
                      <a:pt x="74" y="721"/>
                    </a:lnTo>
                    <a:lnTo>
                      <a:pt x="70" y="721"/>
                    </a:lnTo>
                    <a:lnTo>
                      <a:pt x="68" y="719"/>
                    </a:lnTo>
                    <a:lnTo>
                      <a:pt x="64" y="713"/>
                    </a:lnTo>
                    <a:lnTo>
                      <a:pt x="64" y="707"/>
                    </a:lnTo>
                    <a:lnTo>
                      <a:pt x="64" y="701"/>
                    </a:lnTo>
                    <a:lnTo>
                      <a:pt x="64" y="701"/>
                    </a:lnTo>
                    <a:lnTo>
                      <a:pt x="64" y="699"/>
                    </a:lnTo>
                    <a:lnTo>
                      <a:pt x="64" y="699"/>
                    </a:lnTo>
                    <a:lnTo>
                      <a:pt x="64" y="691"/>
                    </a:lnTo>
                    <a:lnTo>
                      <a:pt x="62" y="683"/>
                    </a:lnTo>
                    <a:lnTo>
                      <a:pt x="60" y="677"/>
                    </a:lnTo>
                    <a:lnTo>
                      <a:pt x="54" y="671"/>
                    </a:lnTo>
                    <a:lnTo>
                      <a:pt x="54" y="671"/>
                    </a:lnTo>
                    <a:lnTo>
                      <a:pt x="44" y="663"/>
                    </a:lnTo>
                    <a:lnTo>
                      <a:pt x="42" y="661"/>
                    </a:lnTo>
                    <a:lnTo>
                      <a:pt x="42" y="661"/>
                    </a:lnTo>
                    <a:lnTo>
                      <a:pt x="36" y="657"/>
                    </a:lnTo>
                    <a:lnTo>
                      <a:pt x="36" y="657"/>
                    </a:lnTo>
                    <a:lnTo>
                      <a:pt x="32" y="653"/>
                    </a:lnTo>
                    <a:lnTo>
                      <a:pt x="30" y="649"/>
                    </a:lnTo>
                    <a:lnTo>
                      <a:pt x="30" y="649"/>
                    </a:lnTo>
                    <a:lnTo>
                      <a:pt x="28" y="645"/>
                    </a:lnTo>
                    <a:lnTo>
                      <a:pt x="28" y="645"/>
                    </a:lnTo>
                    <a:lnTo>
                      <a:pt x="22" y="637"/>
                    </a:lnTo>
                    <a:lnTo>
                      <a:pt x="22" y="637"/>
                    </a:lnTo>
                    <a:lnTo>
                      <a:pt x="18" y="633"/>
                    </a:lnTo>
                    <a:lnTo>
                      <a:pt x="18" y="633"/>
                    </a:lnTo>
                    <a:lnTo>
                      <a:pt x="16" y="629"/>
                    </a:lnTo>
                    <a:lnTo>
                      <a:pt x="16" y="625"/>
                    </a:lnTo>
                    <a:lnTo>
                      <a:pt x="16" y="625"/>
                    </a:lnTo>
                    <a:lnTo>
                      <a:pt x="16" y="623"/>
                    </a:lnTo>
                    <a:lnTo>
                      <a:pt x="16" y="623"/>
                    </a:lnTo>
                    <a:lnTo>
                      <a:pt x="16" y="621"/>
                    </a:lnTo>
                    <a:lnTo>
                      <a:pt x="16" y="621"/>
                    </a:lnTo>
                    <a:lnTo>
                      <a:pt x="16" y="617"/>
                    </a:lnTo>
                    <a:lnTo>
                      <a:pt x="16" y="617"/>
                    </a:lnTo>
                    <a:lnTo>
                      <a:pt x="12" y="617"/>
                    </a:lnTo>
                    <a:lnTo>
                      <a:pt x="6" y="617"/>
                    </a:lnTo>
                    <a:lnTo>
                      <a:pt x="8" y="610"/>
                    </a:lnTo>
                    <a:lnTo>
                      <a:pt x="8" y="610"/>
                    </a:lnTo>
                    <a:lnTo>
                      <a:pt x="16" y="598"/>
                    </a:lnTo>
                    <a:lnTo>
                      <a:pt x="16" y="598"/>
                    </a:lnTo>
                    <a:lnTo>
                      <a:pt x="20" y="592"/>
                    </a:lnTo>
                    <a:lnTo>
                      <a:pt x="20" y="592"/>
                    </a:lnTo>
                    <a:lnTo>
                      <a:pt x="24" y="584"/>
                    </a:lnTo>
                    <a:lnTo>
                      <a:pt x="26" y="574"/>
                    </a:lnTo>
                    <a:lnTo>
                      <a:pt x="26" y="574"/>
                    </a:lnTo>
                    <a:lnTo>
                      <a:pt x="24" y="570"/>
                    </a:lnTo>
                    <a:lnTo>
                      <a:pt x="24" y="570"/>
                    </a:lnTo>
                    <a:lnTo>
                      <a:pt x="24" y="562"/>
                    </a:lnTo>
                    <a:lnTo>
                      <a:pt x="24" y="562"/>
                    </a:lnTo>
                    <a:lnTo>
                      <a:pt x="24" y="562"/>
                    </a:lnTo>
                    <a:lnTo>
                      <a:pt x="24" y="562"/>
                    </a:lnTo>
                    <a:lnTo>
                      <a:pt x="24" y="562"/>
                    </a:lnTo>
                    <a:lnTo>
                      <a:pt x="24" y="562"/>
                    </a:lnTo>
                    <a:lnTo>
                      <a:pt x="20" y="560"/>
                    </a:lnTo>
                    <a:lnTo>
                      <a:pt x="18" y="558"/>
                    </a:lnTo>
                    <a:lnTo>
                      <a:pt x="16" y="554"/>
                    </a:lnTo>
                    <a:lnTo>
                      <a:pt x="16" y="554"/>
                    </a:lnTo>
                    <a:lnTo>
                      <a:pt x="16" y="550"/>
                    </a:lnTo>
                    <a:lnTo>
                      <a:pt x="16" y="550"/>
                    </a:lnTo>
                    <a:lnTo>
                      <a:pt x="16" y="546"/>
                    </a:lnTo>
                    <a:lnTo>
                      <a:pt x="16" y="546"/>
                    </a:lnTo>
                    <a:lnTo>
                      <a:pt x="14" y="546"/>
                    </a:lnTo>
                    <a:lnTo>
                      <a:pt x="14" y="546"/>
                    </a:lnTo>
                    <a:lnTo>
                      <a:pt x="14" y="546"/>
                    </a:lnTo>
                    <a:lnTo>
                      <a:pt x="14" y="546"/>
                    </a:lnTo>
                    <a:lnTo>
                      <a:pt x="10" y="544"/>
                    </a:lnTo>
                    <a:lnTo>
                      <a:pt x="8" y="538"/>
                    </a:lnTo>
                    <a:lnTo>
                      <a:pt x="8" y="538"/>
                    </a:lnTo>
                    <a:lnTo>
                      <a:pt x="8" y="536"/>
                    </a:lnTo>
                    <a:lnTo>
                      <a:pt x="8" y="536"/>
                    </a:lnTo>
                    <a:lnTo>
                      <a:pt x="4" y="534"/>
                    </a:lnTo>
                    <a:lnTo>
                      <a:pt x="4" y="534"/>
                    </a:lnTo>
                    <a:lnTo>
                      <a:pt x="2" y="528"/>
                    </a:lnTo>
                    <a:lnTo>
                      <a:pt x="0" y="522"/>
                    </a:lnTo>
                    <a:lnTo>
                      <a:pt x="0" y="504"/>
                    </a:lnTo>
                    <a:lnTo>
                      <a:pt x="4" y="502"/>
                    </a:lnTo>
                    <a:lnTo>
                      <a:pt x="4" y="502"/>
                    </a:lnTo>
                    <a:lnTo>
                      <a:pt x="8" y="500"/>
                    </a:lnTo>
                    <a:lnTo>
                      <a:pt x="8" y="500"/>
                    </a:lnTo>
                    <a:lnTo>
                      <a:pt x="12" y="496"/>
                    </a:lnTo>
                    <a:lnTo>
                      <a:pt x="14" y="492"/>
                    </a:lnTo>
                    <a:lnTo>
                      <a:pt x="14" y="492"/>
                    </a:lnTo>
                    <a:lnTo>
                      <a:pt x="16" y="484"/>
                    </a:lnTo>
                    <a:lnTo>
                      <a:pt x="16" y="478"/>
                    </a:lnTo>
                    <a:lnTo>
                      <a:pt x="20" y="478"/>
                    </a:lnTo>
                    <a:lnTo>
                      <a:pt x="20" y="478"/>
                    </a:lnTo>
                    <a:lnTo>
                      <a:pt x="26" y="476"/>
                    </a:lnTo>
                    <a:lnTo>
                      <a:pt x="26" y="476"/>
                    </a:lnTo>
                    <a:lnTo>
                      <a:pt x="30" y="470"/>
                    </a:lnTo>
                    <a:lnTo>
                      <a:pt x="32" y="464"/>
                    </a:lnTo>
                    <a:lnTo>
                      <a:pt x="32" y="447"/>
                    </a:lnTo>
                    <a:lnTo>
                      <a:pt x="38" y="447"/>
                    </a:lnTo>
                    <a:lnTo>
                      <a:pt x="38" y="447"/>
                    </a:lnTo>
                    <a:lnTo>
                      <a:pt x="38" y="447"/>
                    </a:lnTo>
                    <a:lnTo>
                      <a:pt x="38" y="447"/>
                    </a:lnTo>
                    <a:lnTo>
                      <a:pt x="40" y="441"/>
                    </a:lnTo>
                    <a:lnTo>
                      <a:pt x="40" y="441"/>
                    </a:lnTo>
                    <a:lnTo>
                      <a:pt x="40" y="435"/>
                    </a:lnTo>
                    <a:lnTo>
                      <a:pt x="40" y="435"/>
                    </a:lnTo>
                    <a:lnTo>
                      <a:pt x="42" y="423"/>
                    </a:lnTo>
                    <a:lnTo>
                      <a:pt x="46" y="413"/>
                    </a:lnTo>
                    <a:lnTo>
                      <a:pt x="46" y="413"/>
                    </a:lnTo>
                    <a:lnTo>
                      <a:pt x="48" y="409"/>
                    </a:lnTo>
                    <a:lnTo>
                      <a:pt x="48" y="409"/>
                    </a:lnTo>
                    <a:lnTo>
                      <a:pt x="52" y="407"/>
                    </a:lnTo>
                    <a:lnTo>
                      <a:pt x="54" y="405"/>
                    </a:lnTo>
                    <a:lnTo>
                      <a:pt x="54" y="405"/>
                    </a:lnTo>
                    <a:lnTo>
                      <a:pt x="56" y="405"/>
                    </a:lnTo>
                    <a:lnTo>
                      <a:pt x="56" y="405"/>
                    </a:lnTo>
                    <a:lnTo>
                      <a:pt x="58" y="407"/>
                    </a:lnTo>
                    <a:lnTo>
                      <a:pt x="58" y="407"/>
                    </a:lnTo>
                    <a:lnTo>
                      <a:pt x="58" y="407"/>
                    </a:lnTo>
                    <a:lnTo>
                      <a:pt x="58" y="407"/>
                    </a:lnTo>
                    <a:lnTo>
                      <a:pt x="62" y="405"/>
                    </a:lnTo>
                    <a:lnTo>
                      <a:pt x="62" y="405"/>
                    </a:lnTo>
                    <a:lnTo>
                      <a:pt x="64" y="403"/>
                    </a:lnTo>
                    <a:lnTo>
                      <a:pt x="64" y="403"/>
                    </a:lnTo>
                    <a:lnTo>
                      <a:pt x="66" y="399"/>
                    </a:lnTo>
                    <a:lnTo>
                      <a:pt x="68" y="399"/>
                    </a:lnTo>
                    <a:lnTo>
                      <a:pt x="72" y="397"/>
                    </a:lnTo>
                    <a:lnTo>
                      <a:pt x="72" y="397"/>
                    </a:lnTo>
                    <a:lnTo>
                      <a:pt x="76" y="399"/>
                    </a:lnTo>
                    <a:lnTo>
                      <a:pt x="76" y="399"/>
                    </a:lnTo>
                    <a:lnTo>
                      <a:pt x="77" y="399"/>
                    </a:lnTo>
                    <a:lnTo>
                      <a:pt x="77" y="399"/>
                    </a:lnTo>
                    <a:lnTo>
                      <a:pt x="79" y="399"/>
                    </a:lnTo>
                    <a:lnTo>
                      <a:pt x="79" y="399"/>
                    </a:lnTo>
                    <a:lnTo>
                      <a:pt x="85" y="397"/>
                    </a:lnTo>
                    <a:lnTo>
                      <a:pt x="85" y="397"/>
                    </a:lnTo>
                    <a:lnTo>
                      <a:pt x="87" y="395"/>
                    </a:lnTo>
                    <a:lnTo>
                      <a:pt x="89" y="391"/>
                    </a:lnTo>
                    <a:lnTo>
                      <a:pt x="87" y="379"/>
                    </a:lnTo>
                    <a:lnTo>
                      <a:pt x="87" y="375"/>
                    </a:lnTo>
                    <a:lnTo>
                      <a:pt x="93" y="373"/>
                    </a:lnTo>
                    <a:lnTo>
                      <a:pt x="93" y="373"/>
                    </a:lnTo>
                    <a:lnTo>
                      <a:pt x="95" y="371"/>
                    </a:lnTo>
                    <a:lnTo>
                      <a:pt x="95" y="363"/>
                    </a:lnTo>
                    <a:lnTo>
                      <a:pt x="95" y="363"/>
                    </a:lnTo>
                    <a:lnTo>
                      <a:pt x="95" y="361"/>
                    </a:lnTo>
                    <a:lnTo>
                      <a:pt x="95" y="361"/>
                    </a:lnTo>
                    <a:lnTo>
                      <a:pt x="97" y="349"/>
                    </a:lnTo>
                    <a:lnTo>
                      <a:pt x="99" y="345"/>
                    </a:lnTo>
                    <a:lnTo>
                      <a:pt x="103" y="341"/>
                    </a:lnTo>
                    <a:lnTo>
                      <a:pt x="103" y="341"/>
                    </a:lnTo>
                    <a:lnTo>
                      <a:pt x="107" y="341"/>
                    </a:lnTo>
                    <a:lnTo>
                      <a:pt x="107" y="341"/>
                    </a:lnTo>
                    <a:lnTo>
                      <a:pt x="111" y="341"/>
                    </a:lnTo>
                    <a:lnTo>
                      <a:pt x="111" y="341"/>
                    </a:lnTo>
                    <a:lnTo>
                      <a:pt x="111" y="341"/>
                    </a:lnTo>
                    <a:lnTo>
                      <a:pt x="111" y="341"/>
                    </a:lnTo>
                    <a:lnTo>
                      <a:pt x="111" y="341"/>
                    </a:lnTo>
                    <a:lnTo>
                      <a:pt x="111" y="341"/>
                    </a:lnTo>
                    <a:lnTo>
                      <a:pt x="111" y="339"/>
                    </a:lnTo>
                    <a:lnTo>
                      <a:pt x="111" y="339"/>
                    </a:lnTo>
                    <a:lnTo>
                      <a:pt x="113" y="335"/>
                    </a:lnTo>
                    <a:lnTo>
                      <a:pt x="119" y="333"/>
                    </a:lnTo>
                    <a:lnTo>
                      <a:pt x="119" y="333"/>
                    </a:lnTo>
                    <a:lnTo>
                      <a:pt x="125" y="333"/>
                    </a:lnTo>
                    <a:lnTo>
                      <a:pt x="129" y="331"/>
                    </a:lnTo>
                    <a:lnTo>
                      <a:pt x="131" y="329"/>
                    </a:lnTo>
                    <a:lnTo>
                      <a:pt x="135" y="325"/>
                    </a:lnTo>
                    <a:lnTo>
                      <a:pt x="135" y="323"/>
                    </a:lnTo>
                    <a:lnTo>
                      <a:pt x="135" y="323"/>
                    </a:lnTo>
                    <a:lnTo>
                      <a:pt x="137" y="321"/>
                    </a:lnTo>
                    <a:lnTo>
                      <a:pt x="137" y="321"/>
                    </a:lnTo>
                    <a:lnTo>
                      <a:pt x="139" y="315"/>
                    </a:lnTo>
                    <a:lnTo>
                      <a:pt x="139" y="315"/>
                    </a:lnTo>
                    <a:lnTo>
                      <a:pt x="141" y="312"/>
                    </a:lnTo>
                    <a:lnTo>
                      <a:pt x="143" y="310"/>
                    </a:lnTo>
                    <a:lnTo>
                      <a:pt x="147" y="310"/>
                    </a:lnTo>
                    <a:lnTo>
                      <a:pt x="147" y="313"/>
                    </a:lnTo>
                    <a:lnTo>
                      <a:pt x="147" y="310"/>
                    </a:lnTo>
                    <a:lnTo>
                      <a:pt x="147" y="310"/>
                    </a:lnTo>
                    <a:lnTo>
                      <a:pt x="149" y="310"/>
                    </a:lnTo>
                    <a:lnTo>
                      <a:pt x="149" y="310"/>
                    </a:lnTo>
                    <a:lnTo>
                      <a:pt x="157" y="308"/>
                    </a:lnTo>
                    <a:lnTo>
                      <a:pt x="157" y="308"/>
                    </a:lnTo>
                    <a:lnTo>
                      <a:pt x="165" y="310"/>
                    </a:lnTo>
                    <a:lnTo>
                      <a:pt x="169" y="310"/>
                    </a:lnTo>
                    <a:lnTo>
                      <a:pt x="169" y="310"/>
                    </a:lnTo>
                    <a:lnTo>
                      <a:pt x="179" y="310"/>
                    </a:lnTo>
                    <a:lnTo>
                      <a:pt x="179" y="310"/>
                    </a:lnTo>
                    <a:lnTo>
                      <a:pt x="183" y="310"/>
                    </a:lnTo>
                    <a:lnTo>
                      <a:pt x="185" y="310"/>
                    </a:lnTo>
                    <a:lnTo>
                      <a:pt x="185" y="310"/>
                    </a:lnTo>
                    <a:lnTo>
                      <a:pt x="185" y="308"/>
                    </a:lnTo>
                    <a:lnTo>
                      <a:pt x="185" y="302"/>
                    </a:lnTo>
                    <a:lnTo>
                      <a:pt x="191" y="302"/>
                    </a:lnTo>
                    <a:lnTo>
                      <a:pt x="191" y="302"/>
                    </a:lnTo>
                    <a:lnTo>
                      <a:pt x="193" y="302"/>
                    </a:lnTo>
                    <a:lnTo>
                      <a:pt x="193" y="302"/>
                    </a:lnTo>
                    <a:lnTo>
                      <a:pt x="195" y="302"/>
                    </a:lnTo>
                    <a:lnTo>
                      <a:pt x="195" y="302"/>
                    </a:lnTo>
                    <a:lnTo>
                      <a:pt x="201" y="300"/>
                    </a:lnTo>
                    <a:lnTo>
                      <a:pt x="201" y="300"/>
                    </a:lnTo>
                    <a:lnTo>
                      <a:pt x="201" y="300"/>
                    </a:lnTo>
                    <a:lnTo>
                      <a:pt x="199" y="294"/>
                    </a:lnTo>
                    <a:lnTo>
                      <a:pt x="207" y="294"/>
                    </a:lnTo>
                    <a:lnTo>
                      <a:pt x="207" y="294"/>
                    </a:lnTo>
                    <a:lnTo>
                      <a:pt x="215" y="294"/>
                    </a:lnTo>
                    <a:lnTo>
                      <a:pt x="215" y="294"/>
                    </a:lnTo>
                    <a:lnTo>
                      <a:pt x="223" y="292"/>
                    </a:lnTo>
                    <a:lnTo>
                      <a:pt x="223" y="292"/>
                    </a:lnTo>
                    <a:lnTo>
                      <a:pt x="232" y="294"/>
                    </a:lnTo>
                    <a:lnTo>
                      <a:pt x="242" y="294"/>
                    </a:lnTo>
                    <a:lnTo>
                      <a:pt x="242" y="294"/>
                    </a:lnTo>
                    <a:lnTo>
                      <a:pt x="252" y="300"/>
                    </a:lnTo>
                    <a:lnTo>
                      <a:pt x="252" y="300"/>
                    </a:lnTo>
                    <a:lnTo>
                      <a:pt x="256" y="302"/>
                    </a:lnTo>
                    <a:lnTo>
                      <a:pt x="262" y="302"/>
                    </a:lnTo>
                    <a:lnTo>
                      <a:pt x="262" y="302"/>
                    </a:lnTo>
                    <a:lnTo>
                      <a:pt x="262" y="302"/>
                    </a:lnTo>
                    <a:lnTo>
                      <a:pt x="262" y="302"/>
                    </a:lnTo>
                    <a:lnTo>
                      <a:pt x="266" y="300"/>
                    </a:lnTo>
                    <a:lnTo>
                      <a:pt x="270" y="296"/>
                    </a:lnTo>
                    <a:lnTo>
                      <a:pt x="270" y="296"/>
                    </a:lnTo>
                    <a:lnTo>
                      <a:pt x="276" y="288"/>
                    </a:lnTo>
                    <a:lnTo>
                      <a:pt x="280" y="286"/>
                    </a:lnTo>
                    <a:lnTo>
                      <a:pt x="286" y="286"/>
                    </a:lnTo>
                    <a:lnTo>
                      <a:pt x="294" y="286"/>
                    </a:lnTo>
                    <a:lnTo>
                      <a:pt x="292" y="292"/>
                    </a:lnTo>
                    <a:lnTo>
                      <a:pt x="292" y="292"/>
                    </a:lnTo>
                    <a:lnTo>
                      <a:pt x="292" y="292"/>
                    </a:lnTo>
                    <a:lnTo>
                      <a:pt x="292" y="292"/>
                    </a:lnTo>
                    <a:lnTo>
                      <a:pt x="296" y="294"/>
                    </a:lnTo>
                    <a:lnTo>
                      <a:pt x="296" y="294"/>
                    </a:lnTo>
                    <a:lnTo>
                      <a:pt x="302" y="294"/>
                    </a:lnTo>
                    <a:lnTo>
                      <a:pt x="304" y="296"/>
                    </a:lnTo>
                    <a:lnTo>
                      <a:pt x="308" y="300"/>
                    </a:lnTo>
                    <a:lnTo>
                      <a:pt x="308" y="300"/>
                    </a:lnTo>
                    <a:lnTo>
                      <a:pt x="308" y="304"/>
                    </a:lnTo>
                    <a:lnTo>
                      <a:pt x="308" y="308"/>
                    </a:lnTo>
                    <a:lnTo>
                      <a:pt x="308" y="308"/>
                    </a:lnTo>
                    <a:lnTo>
                      <a:pt x="308" y="308"/>
                    </a:lnTo>
                    <a:lnTo>
                      <a:pt x="308" y="308"/>
                    </a:lnTo>
                    <a:lnTo>
                      <a:pt x="308" y="310"/>
                    </a:lnTo>
                    <a:lnTo>
                      <a:pt x="308" y="310"/>
                    </a:lnTo>
                    <a:lnTo>
                      <a:pt x="312" y="310"/>
                    </a:lnTo>
                    <a:lnTo>
                      <a:pt x="316" y="310"/>
                    </a:lnTo>
                    <a:lnTo>
                      <a:pt x="316" y="319"/>
                    </a:lnTo>
                    <a:lnTo>
                      <a:pt x="316" y="319"/>
                    </a:lnTo>
                    <a:lnTo>
                      <a:pt x="316" y="323"/>
                    </a:lnTo>
                    <a:lnTo>
                      <a:pt x="316" y="323"/>
                    </a:lnTo>
                    <a:lnTo>
                      <a:pt x="316" y="325"/>
                    </a:lnTo>
                    <a:lnTo>
                      <a:pt x="316" y="325"/>
                    </a:lnTo>
                    <a:lnTo>
                      <a:pt x="320" y="325"/>
                    </a:lnTo>
                    <a:lnTo>
                      <a:pt x="326" y="325"/>
                    </a:lnTo>
                    <a:lnTo>
                      <a:pt x="324" y="331"/>
                    </a:lnTo>
                    <a:lnTo>
                      <a:pt x="324" y="331"/>
                    </a:lnTo>
                    <a:lnTo>
                      <a:pt x="324" y="337"/>
                    </a:lnTo>
                    <a:lnTo>
                      <a:pt x="324" y="339"/>
                    </a:lnTo>
                    <a:lnTo>
                      <a:pt x="324" y="339"/>
                    </a:lnTo>
                    <a:lnTo>
                      <a:pt x="328" y="341"/>
                    </a:lnTo>
                    <a:lnTo>
                      <a:pt x="328" y="341"/>
                    </a:lnTo>
                    <a:lnTo>
                      <a:pt x="330" y="341"/>
                    </a:lnTo>
                    <a:lnTo>
                      <a:pt x="330" y="341"/>
                    </a:lnTo>
                    <a:lnTo>
                      <a:pt x="338" y="341"/>
                    </a:lnTo>
                    <a:lnTo>
                      <a:pt x="338" y="341"/>
                    </a:lnTo>
                    <a:lnTo>
                      <a:pt x="346" y="341"/>
                    </a:lnTo>
                    <a:lnTo>
                      <a:pt x="346" y="341"/>
                    </a:lnTo>
                    <a:lnTo>
                      <a:pt x="352" y="341"/>
                    </a:lnTo>
                    <a:lnTo>
                      <a:pt x="358" y="341"/>
                    </a:lnTo>
                    <a:lnTo>
                      <a:pt x="356" y="347"/>
                    </a:lnTo>
                    <a:lnTo>
                      <a:pt x="356" y="347"/>
                    </a:lnTo>
                    <a:lnTo>
                      <a:pt x="356" y="349"/>
                    </a:lnTo>
                    <a:lnTo>
                      <a:pt x="356" y="349"/>
                    </a:lnTo>
                    <a:lnTo>
                      <a:pt x="356" y="349"/>
                    </a:lnTo>
                    <a:lnTo>
                      <a:pt x="358" y="349"/>
                    </a:lnTo>
                    <a:lnTo>
                      <a:pt x="364" y="349"/>
                    </a:lnTo>
                    <a:lnTo>
                      <a:pt x="364" y="349"/>
                    </a:lnTo>
                    <a:lnTo>
                      <a:pt x="372" y="349"/>
                    </a:lnTo>
                    <a:lnTo>
                      <a:pt x="372" y="349"/>
                    </a:lnTo>
                    <a:lnTo>
                      <a:pt x="376" y="349"/>
                    </a:lnTo>
                    <a:lnTo>
                      <a:pt x="382" y="349"/>
                    </a:lnTo>
                    <a:lnTo>
                      <a:pt x="382" y="355"/>
                    </a:lnTo>
                    <a:lnTo>
                      <a:pt x="382" y="355"/>
                    </a:lnTo>
                    <a:lnTo>
                      <a:pt x="380" y="357"/>
                    </a:lnTo>
                    <a:lnTo>
                      <a:pt x="380" y="357"/>
                    </a:lnTo>
                    <a:lnTo>
                      <a:pt x="382" y="357"/>
                    </a:lnTo>
                    <a:lnTo>
                      <a:pt x="382" y="357"/>
                    </a:lnTo>
                    <a:lnTo>
                      <a:pt x="384" y="357"/>
                    </a:lnTo>
                    <a:lnTo>
                      <a:pt x="389" y="357"/>
                    </a:lnTo>
                    <a:lnTo>
                      <a:pt x="389" y="363"/>
                    </a:lnTo>
                    <a:lnTo>
                      <a:pt x="389" y="363"/>
                    </a:lnTo>
                    <a:lnTo>
                      <a:pt x="389" y="365"/>
                    </a:lnTo>
                    <a:lnTo>
                      <a:pt x="389" y="365"/>
                    </a:lnTo>
                    <a:lnTo>
                      <a:pt x="389" y="365"/>
                    </a:lnTo>
                    <a:lnTo>
                      <a:pt x="393" y="365"/>
                    </a:lnTo>
                    <a:lnTo>
                      <a:pt x="393" y="365"/>
                    </a:lnTo>
                    <a:lnTo>
                      <a:pt x="397" y="365"/>
                    </a:lnTo>
                    <a:lnTo>
                      <a:pt x="397" y="365"/>
                    </a:lnTo>
                    <a:lnTo>
                      <a:pt x="399" y="365"/>
                    </a:lnTo>
                    <a:lnTo>
                      <a:pt x="405" y="365"/>
                    </a:lnTo>
                    <a:lnTo>
                      <a:pt x="405" y="371"/>
                    </a:lnTo>
                    <a:lnTo>
                      <a:pt x="405" y="371"/>
                    </a:lnTo>
                    <a:lnTo>
                      <a:pt x="407" y="371"/>
                    </a:lnTo>
                    <a:lnTo>
                      <a:pt x="411" y="373"/>
                    </a:lnTo>
                    <a:lnTo>
                      <a:pt x="413" y="373"/>
                    </a:lnTo>
                    <a:lnTo>
                      <a:pt x="415" y="373"/>
                    </a:lnTo>
                    <a:lnTo>
                      <a:pt x="415" y="373"/>
                    </a:lnTo>
                    <a:lnTo>
                      <a:pt x="421" y="373"/>
                    </a:lnTo>
                    <a:lnTo>
                      <a:pt x="421" y="373"/>
                    </a:lnTo>
                    <a:lnTo>
                      <a:pt x="423" y="373"/>
                    </a:lnTo>
                    <a:lnTo>
                      <a:pt x="425" y="371"/>
                    </a:lnTo>
                    <a:lnTo>
                      <a:pt x="425" y="371"/>
                    </a:lnTo>
                    <a:lnTo>
                      <a:pt x="427" y="365"/>
                    </a:lnTo>
                    <a:lnTo>
                      <a:pt x="427" y="357"/>
                    </a:lnTo>
                    <a:lnTo>
                      <a:pt x="427" y="347"/>
                    </a:lnTo>
                    <a:lnTo>
                      <a:pt x="433" y="349"/>
                    </a:lnTo>
                    <a:lnTo>
                      <a:pt x="433" y="349"/>
                    </a:lnTo>
                    <a:lnTo>
                      <a:pt x="437" y="351"/>
                    </a:lnTo>
                    <a:lnTo>
                      <a:pt x="441" y="355"/>
                    </a:lnTo>
                    <a:lnTo>
                      <a:pt x="441" y="355"/>
                    </a:lnTo>
                    <a:lnTo>
                      <a:pt x="445" y="357"/>
                    </a:lnTo>
                    <a:lnTo>
                      <a:pt x="447" y="357"/>
                    </a:lnTo>
                    <a:lnTo>
                      <a:pt x="455" y="357"/>
                    </a:lnTo>
                    <a:lnTo>
                      <a:pt x="453" y="363"/>
                    </a:lnTo>
                    <a:lnTo>
                      <a:pt x="453" y="363"/>
                    </a:lnTo>
                    <a:lnTo>
                      <a:pt x="453" y="365"/>
                    </a:lnTo>
                    <a:lnTo>
                      <a:pt x="453" y="365"/>
                    </a:lnTo>
                    <a:lnTo>
                      <a:pt x="459" y="365"/>
                    </a:lnTo>
                    <a:lnTo>
                      <a:pt x="459" y="365"/>
                    </a:lnTo>
                    <a:lnTo>
                      <a:pt x="461" y="365"/>
                    </a:lnTo>
                    <a:lnTo>
                      <a:pt x="461" y="365"/>
                    </a:lnTo>
                    <a:lnTo>
                      <a:pt x="467" y="365"/>
                    </a:lnTo>
                    <a:lnTo>
                      <a:pt x="467" y="365"/>
                    </a:lnTo>
                    <a:lnTo>
                      <a:pt x="473" y="365"/>
                    </a:lnTo>
                    <a:lnTo>
                      <a:pt x="475" y="367"/>
                    </a:lnTo>
                    <a:lnTo>
                      <a:pt x="477" y="369"/>
                    </a:lnTo>
                    <a:lnTo>
                      <a:pt x="477" y="369"/>
                    </a:lnTo>
                    <a:lnTo>
                      <a:pt x="479" y="371"/>
                    </a:lnTo>
                    <a:lnTo>
                      <a:pt x="479" y="371"/>
                    </a:lnTo>
                    <a:lnTo>
                      <a:pt x="485" y="373"/>
                    </a:lnTo>
                    <a:lnTo>
                      <a:pt x="485" y="373"/>
                    </a:lnTo>
                    <a:lnTo>
                      <a:pt x="489" y="373"/>
                    </a:lnTo>
                    <a:lnTo>
                      <a:pt x="491" y="371"/>
                    </a:lnTo>
                    <a:lnTo>
                      <a:pt x="491" y="371"/>
                    </a:lnTo>
                    <a:lnTo>
                      <a:pt x="491" y="365"/>
                    </a:lnTo>
                    <a:lnTo>
                      <a:pt x="497" y="365"/>
                    </a:lnTo>
                    <a:lnTo>
                      <a:pt x="497" y="365"/>
                    </a:lnTo>
                    <a:lnTo>
                      <a:pt x="501" y="365"/>
                    </a:lnTo>
                    <a:lnTo>
                      <a:pt x="501" y="365"/>
                    </a:lnTo>
                    <a:lnTo>
                      <a:pt x="505" y="365"/>
                    </a:lnTo>
                    <a:lnTo>
                      <a:pt x="507" y="361"/>
                    </a:lnTo>
                    <a:lnTo>
                      <a:pt x="507" y="359"/>
                    </a:lnTo>
                    <a:lnTo>
                      <a:pt x="507" y="359"/>
                    </a:lnTo>
                    <a:lnTo>
                      <a:pt x="507" y="353"/>
                    </a:lnTo>
                    <a:lnTo>
                      <a:pt x="507" y="353"/>
                    </a:lnTo>
                    <a:lnTo>
                      <a:pt x="505" y="351"/>
                    </a:lnTo>
                    <a:lnTo>
                      <a:pt x="499" y="351"/>
                    </a:lnTo>
                    <a:lnTo>
                      <a:pt x="499" y="347"/>
                    </a:lnTo>
                    <a:lnTo>
                      <a:pt x="499" y="347"/>
                    </a:lnTo>
                    <a:lnTo>
                      <a:pt x="499" y="343"/>
                    </a:lnTo>
                    <a:lnTo>
                      <a:pt x="499" y="343"/>
                    </a:lnTo>
                    <a:lnTo>
                      <a:pt x="499" y="335"/>
                    </a:lnTo>
                    <a:lnTo>
                      <a:pt x="499" y="335"/>
                    </a:lnTo>
                    <a:lnTo>
                      <a:pt x="499" y="335"/>
                    </a:lnTo>
                    <a:lnTo>
                      <a:pt x="499" y="335"/>
                    </a:lnTo>
                    <a:lnTo>
                      <a:pt x="499" y="335"/>
                    </a:lnTo>
                    <a:lnTo>
                      <a:pt x="499" y="335"/>
                    </a:lnTo>
                    <a:lnTo>
                      <a:pt x="495" y="335"/>
                    </a:lnTo>
                    <a:lnTo>
                      <a:pt x="493" y="333"/>
                    </a:lnTo>
                    <a:lnTo>
                      <a:pt x="491" y="327"/>
                    </a:lnTo>
                    <a:lnTo>
                      <a:pt x="491" y="327"/>
                    </a:lnTo>
                    <a:lnTo>
                      <a:pt x="491" y="327"/>
                    </a:lnTo>
                    <a:lnTo>
                      <a:pt x="491" y="315"/>
                    </a:lnTo>
                    <a:lnTo>
                      <a:pt x="491" y="315"/>
                    </a:lnTo>
                    <a:lnTo>
                      <a:pt x="491" y="313"/>
                    </a:lnTo>
                    <a:lnTo>
                      <a:pt x="491" y="313"/>
                    </a:lnTo>
                    <a:lnTo>
                      <a:pt x="491" y="312"/>
                    </a:lnTo>
                    <a:lnTo>
                      <a:pt x="491" y="312"/>
                    </a:lnTo>
                    <a:lnTo>
                      <a:pt x="489" y="312"/>
                    </a:lnTo>
                    <a:lnTo>
                      <a:pt x="483" y="312"/>
                    </a:lnTo>
                    <a:lnTo>
                      <a:pt x="483" y="306"/>
                    </a:lnTo>
                    <a:lnTo>
                      <a:pt x="483" y="306"/>
                    </a:lnTo>
                    <a:lnTo>
                      <a:pt x="483" y="304"/>
                    </a:lnTo>
                    <a:lnTo>
                      <a:pt x="483" y="304"/>
                    </a:lnTo>
                    <a:lnTo>
                      <a:pt x="483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9" y="304"/>
                    </a:lnTo>
                    <a:lnTo>
                      <a:pt x="477" y="308"/>
                    </a:lnTo>
                    <a:lnTo>
                      <a:pt x="477" y="312"/>
                    </a:lnTo>
                    <a:lnTo>
                      <a:pt x="473" y="312"/>
                    </a:lnTo>
                    <a:lnTo>
                      <a:pt x="473" y="312"/>
                    </a:lnTo>
                    <a:lnTo>
                      <a:pt x="469" y="312"/>
                    </a:lnTo>
                    <a:lnTo>
                      <a:pt x="469" y="312"/>
                    </a:lnTo>
                    <a:lnTo>
                      <a:pt x="463" y="312"/>
                    </a:lnTo>
                    <a:lnTo>
                      <a:pt x="455" y="308"/>
                    </a:lnTo>
                    <a:lnTo>
                      <a:pt x="455" y="308"/>
                    </a:lnTo>
                    <a:lnTo>
                      <a:pt x="451" y="306"/>
                    </a:lnTo>
                    <a:lnTo>
                      <a:pt x="447" y="304"/>
                    </a:lnTo>
                    <a:lnTo>
                      <a:pt x="441" y="304"/>
                    </a:lnTo>
                    <a:lnTo>
                      <a:pt x="443" y="298"/>
                    </a:lnTo>
                    <a:lnTo>
                      <a:pt x="443" y="298"/>
                    </a:lnTo>
                    <a:lnTo>
                      <a:pt x="443" y="296"/>
                    </a:lnTo>
                    <a:lnTo>
                      <a:pt x="443" y="296"/>
                    </a:lnTo>
                    <a:lnTo>
                      <a:pt x="439" y="296"/>
                    </a:lnTo>
                    <a:lnTo>
                      <a:pt x="439" y="296"/>
                    </a:lnTo>
                    <a:lnTo>
                      <a:pt x="437" y="296"/>
                    </a:lnTo>
                    <a:lnTo>
                      <a:pt x="437" y="296"/>
                    </a:lnTo>
                    <a:lnTo>
                      <a:pt x="431" y="294"/>
                    </a:lnTo>
                    <a:lnTo>
                      <a:pt x="427" y="290"/>
                    </a:lnTo>
                    <a:lnTo>
                      <a:pt x="427" y="282"/>
                    </a:lnTo>
                    <a:lnTo>
                      <a:pt x="427" y="282"/>
                    </a:lnTo>
                    <a:lnTo>
                      <a:pt x="427" y="280"/>
                    </a:lnTo>
                    <a:lnTo>
                      <a:pt x="427" y="280"/>
                    </a:lnTo>
                    <a:lnTo>
                      <a:pt x="425" y="280"/>
                    </a:lnTo>
                    <a:lnTo>
                      <a:pt x="425" y="280"/>
                    </a:lnTo>
                    <a:lnTo>
                      <a:pt x="419" y="278"/>
                    </a:lnTo>
                    <a:lnTo>
                      <a:pt x="417" y="274"/>
                    </a:lnTo>
                    <a:lnTo>
                      <a:pt x="415" y="272"/>
                    </a:lnTo>
                    <a:lnTo>
                      <a:pt x="415" y="272"/>
                    </a:lnTo>
                    <a:lnTo>
                      <a:pt x="411" y="262"/>
                    </a:lnTo>
                    <a:lnTo>
                      <a:pt x="411" y="250"/>
                    </a:lnTo>
                    <a:lnTo>
                      <a:pt x="411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17" y="244"/>
                    </a:lnTo>
                    <a:lnTo>
                      <a:pt x="421" y="238"/>
                    </a:lnTo>
                    <a:lnTo>
                      <a:pt x="427" y="236"/>
                    </a:lnTo>
                    <a:lnTo>
                      <a:pt x="443" y="236"/>
                    </a:lnTo>
                    <a:lnTo>
                      <a:pt x="443" y="236"/>
                    </a:lnTo>
                    <a:lnTo>
                      <a:pt x="439" y="230"/>
                    </a:lnTo>
                    <a:lnTo>
                      <a:pt x="439" y="230"/>
                    </a:lnTo>
                    <a:lnTo>
                      <a:pt x="439" y="228"/>
                    </a:lnTo>
                    <a:lnTo>
                      <a:pt x="439" y="228"/>
                    </a:lnTo>
                    <a:lnTo>
                      <a:pt x="433" y="222"/>
                    </a:lnTo>
                    <a:lnTo>
                      <a:pt x="427" y="216"/>
                    </a:lnTo>
                    <a:lnTo>
                      <a:pt x="427" y="216"/>
                    </a:lnTo>
                    <a:lnTo>
                      <a:pt x="423" y="214"/>
                    </a:lnTo>
                    <a:lnTo>
                      <a:pt x="423" y="214"/>
                    </a:lnTo>
                    <a:lnTo>
                      <a:pt x="421" y="214"/>
                    </a:lnTo>
                    <a:lnTo>
                      <a:pt x="419" y="212"/>
                    </a:lnTo>
                    <a:lnTo>
                      <a:pt x="419" y="208"/>
                    </a:lnTo>
                    <a:lnTo>
                      <a:pt x="419" y="208"/>
                    </a:lnTo>
                    <a:lnTo>
                      <a:pt x="417" y="206"/>
                    </a:lnTo>
                    <a:lnTo>
                      <a:pt x="417" y="206"/>
                    </a:lnTo>
                    <a:lnTo>
                      <a:pt x="411" y="204"/>
                    </a:lnTo>
                    <a:lnTo>
                      <a:pt x="407" y="202"/>
                    </a:lnTo>
                    <a:lnTo>
                      <a:pt x="407" y="202"/>
                    </a:lnTo>
                    <a:lnTo>
                      <a:pt x="397" y="194"/>
                    </a:lnTo>
                    <a:lnTo>
                      <a:pt x="397" y="194"/>
                    </a:lnTo>
                    <a:lnTo>
                      <a:pt x="389" y="190"/>
                    </a:lnTo>
                    <a:lnTo>
                      <a:pt x="382" y="188"/>
                    </a:lnTo>
                    <a:lnTo>
                      <a:pt x="382" y="188"/>
                    </a:lnTo>
                    <a:lnTo>
                      <a:pt x="378" y="190"/>
                    </a:lnTo>
                    <a:lnTo>
                      <a:pt x="378" y="190"/>
                    </a:lnTo>
                    <a:lnTo>
                      <a:pt x="374" y="194"/>
                    </a:lnTo>
                    <a:lnTo>
                      <a:pt x="374" y="194"/>
                    </a:lnTo>
                    <a:lnTo>
                      <a:pt x="374" y="198"/>
                    </a:lnTo>
                    <a:lnTo>
                      <a:pt x="374" y="198"/>
                    </a:lnTo>
                    <a:lnTo>
                      <a:pt x="374" y="200"/>
                    </a:lnTo>
                    <a:lnTo>
                      <a:pt x="374" y="200"/>
                    </a:lnTo>
                    <a:lnTo>
                      <a:pt x="380" y="208"/>
                    </a:lnTo>
                    <a:lnTo>
                      <a:pt x="380" y="212"/>
                    </a:lnTo>
                    <a:lnTo>
                      <a:pt x="380" y="212"/>
                    </a:lnTo>
                    <a:lnTo>
                      <a:pt x="391" y="228"/>
                    </a:lnTo>
                    <a:lnTo>
                      <a:pt x="395" y="236"/>
                    </a:lnTo>
                    <a:lnTo>
                      <a:pt x="395" y="246"/>
                    </a:lnTo>
                    <a:lnTo>
                      <a:pt x="395" y="246"/>
                    </a:lnTo>
                    <a:lnTo>
                      <a:pt x="395" y="256"/>
                    </a:lnTo>
                    <a:lnTo>
                      <a:pt x="389" y="266"/>
                    </a:lnTo>
                    <a:lnTo>
                      <a:pt x="389" y="266"/>
                    </a:lnTo>
                    <a:lnTo>
                      <a:pt x="389" y="268"/>
                    </a:lnTo>
                    <a:lnTo>
                      <a:pt x="389" y="268"/>
                    </a:lnTo>
                    <a:lnTo>
                      <a:pt x="387" y="274"/>
                    </a:lnTo>
                    <a:lnTo>
                      <a:pt x="387" y="274"/>
                    </a:lnTo>
                    <a:lnTo>
                      <a:pt x="385" y="276"/>
                    </a:lnTo>
                    <a:lnTo>
                      <a:pt x="384" y="278"/>
                    </a:lnTo>
                    <a:lnTo>
                      <a:pt x="380" y="280"/>
                    </a:lnTo>
                    <a:lnTo>
                      <a:pt x="380" y="280"/>
                    </a:lnTo>
                    <a:lnTo>
                      <a:pt x="376" y="280"/>
                    </a:lnTo>
                    <a:lnTo>
                      <a:pt x="376" y="280"/>
                    </a:lnTo>
                    <a:lnTo>
                      <a:pt x="372" y="278"/>
                    </a:lnTo>
                    <a:lnTo>
                      <a:pt x="370" y="274"/>
                    </a:lnTo>
                    <a:lnTo>
                      <a:pt x="370" y="274"/>
                    </a:lnTo>
                    <a:lnTo>
                      <a:pt x="370" y="274"/>
                    </a:lnTo>
                    <a:lnTo>
                      <a:pt x="368" y="270"/>
                    </a:lnTo>
                    <a:lnTo>
                      <a:pt x="368" y="270"/>
                    </a:lnTo>
                    <a:lnTo>
                      <a:pt x="364" y="266"/>
                    </a:lnTo>
                    <a:lnTo>
                      <a:pt x="364" y="266"/>
                    </a:lnTo>
                    <a:lnTo>
                      <a:pt x="358" y="264"/>
                    </a:lnTo>
                    <a:lnTo>
                      <a:pt x="356" y="262"/>
                    </a:lnTo>
                    <a:lnTo>
                      <a:pt x="354" y="260"/>
                    </a:lnTo>
                    <a:lnTo>
                      <a:pt x="354" y="260"/>
                    </a:lnTo>
                    <a:lnTo>
                      <a:pt x="352" y="256"/>
                    </a:lnTo>
                    <a:lnTo>
                      <a:pt x="352" y="256"/>
                    </a:lnTo>
                    <a:lnTo>
                      <a:pt x="348" y="252"/>
                    </a:lnTo>
                    <a:lnTo>
                      <a:pt x="346" y="246"/>
                    </a:lnTo>
                    <a:lnTo>
                      <a:pt x="346" y="246"/>
                    </a:lnTo>
                    <a:lnTo>
                      <a:pt x="346" y="242"/>
                    </a:lnTo>
                    <a:lnTo>
                      <a:pt x="346" y="242"/>
                    </a:lnTo>
                    <a:lnTo>
                      <a:pt x="346" y="240"/>
                    </a:lnTo>
                    <a:lnTo>
                      <a:pt x="346" y="240"/>
                    </a:lnTo>
                    <a:lnTo>
                      <a:pt x="346" y="240"/>
                    </a:lnTo>
                    <a:lnTo>
                      <a:pt x="346" y="240"/>
                    </a:lnTo>
                    <a:lnTo>
                      <a:pt x="342" y="238"/>
                    </a:lnTo>
                    <a:lnTo>
                      <a:pt x="342" y="238"/>
                    </a:lnTo>
                    <a:lnTo>
                      <a:pt x="338" y="240"/>
                    </a:lnTo>
                    <a:lnTo>
                      <a:pt x="338" y="240"/>
                    </a:lnTo>
                    <a:lnTo>
                      <a:pt x="336" y="240"/>
                    </a:lnTo>
                    <a:lnTo>
                      <a:pt x="328" y="240"/>
                    </a:lnTo>
                    <a:lnTo>
                      <a:pt x="330" y="232"/>
                    </a:lnTo>
                    <a:lnTo>
                      <a:pt x="330" y="232"/>
                    </a:lnTo>
                    <a:lnTo>
                      <a:pt x="330" y="232"/>
                    </a:lnTo>
                    <a:lnTo>
                      <a:pt x="330" y="232"/>
                    </a:lnTo>
                    <a:lnTo>
                      <a:pt x="330" y="232"/>
                    </a:lnTo>
                    <a:lnTo>
                      <a:pt x="330" y="232"/>
                    </a:lnTo>
                    <a:lnTo>
                      <a:pt x="324" y="230"/>
                    </a:lnTo>
                    <a:lnTo>
                      <a:pt x="324" y="230"/>
                    </a:lnTo>
                    <a:lnTo>
                      <a:pt x="322" y="230"/>
                    </a:lnTo>
                    <a:lnTo>
                      <a:pt x="322" y="230"/>
                    </a:lnTo>
                    <a:lnTo>
                      <a:pt x="320" y="232"/>
                    </a:lnTo>
                    <a:lnTo>
                      <a:pt x="320" y="232"/>
                    </a:lnTo>
                    <a:lnTo>
                      <a:pt x="326" y="238"/>
                    </a:lnTo>
                    <a:lnTo>
                      <a:pt x="332" y="242"/>
                    </a:lnTo>
                    <a:lnTo>
                      <a:pt x="332" y="242"/>
                    </a:lnTo>
                    <a:lnTo>
                      <a:pt x="334" y="244"/>
                    </a:lnTo>
                    <a:lnTo>
                      <a:pt x="334" y="244"/>
                    </a:lnTo>
                    <a:lnTo>
                      <a:pt x="338" y="246"/>
                    </a:lnTo>
                    <a:lnTo>
                      <a:pt x="340" y="248"/>
                    </a:lnTo>
                    <a:lnTo>
                      <a:pt x="340" y="252"/>
                    </a:lnTo>
                    <a:lnTo>
                      <a:pt x="340" y="284"/>
                    </a:lnTo>
                    <a:lnTo>
                      <a:pt x="340" y="284"/>
                    </a:lnTo>
                    <a:lnTo>
                      <a:pt x="340" y="284"/>
                    </a:lnTo>
                    <a:lnTo>
                      <a:pt x="338" y="288"/>
                    </a:lnTo>
                    <a:lnTo>
                      <a:pt x="336" y="292"/>
                    </a:lnTo>
                    <a:lnTo>
                      <a:pt x="336" y="292"/>
                    </a:lnTo>
                    <a:lnTo>
                      <a:pt x="334" y="296"/>
                    </a:lnTo>
                    <a:lnTo>
                      <a:pt x="334" y="296"/>
                    </a:lnTo>
                    <a:lnTo>
                      <a:pt x="332" y="298"/>
                    </a:lnTo>
                    <a:lnTo>
                      <a:pt x="332" y="304"/>
                    </a:lnTo>
                    <a:lnTo>
                      <a:pt x="312" y="304"/>
                    </a:lnTo>
                    <a:lnTo>
                      <a:pt x="314" y="298"/>
                    </a:lnTo>
                    <a:lnTo>
                      <a:pt x="314" y="298"/>
                    </a:lnTo>
                    <a:lnTo>
                      <a:pt x="314" y="296"/>
                    </a:lnTo>
                    <a:lnTo>
                      <a:pt x="314" y="296"/>
                    </a:lnTo>
                    <a:lnTo>
                      <a:pt x="314" y="296"/>
                    </a:lnTo>
                    <a:lnTo>
                      <a:pt x="314" y="296"/>
                    </a:lnTo>
                    <a:lnTo>
                      <a:pt x="310" y="296"/>
                    </a:lnTo>
                    <a:lnTo>
                      <a:pt x="306" y="296"/>
                    </a:lnTo>
                    <a:lnTo>
                      <a:pt x="306" y="268"/>
                    </a:lnTo>
                    <a:lnTo>
                      <a:pt x="306" y="268"/>
                    </a:lnTo>
                    <a:lnTo>
                      <a:pt x="304" y="264"/>
                    </a:lnTo>
                    <a:lnTo>
                      <a:pt x="300" y="258"/>
                    </a:lnTo>
                    <a:lnTo>
                      <a:pt x="300" y="258"/>
                    </a:lnTo>
                    <a:lnTo>
                      <a:pt x="296" y="256"/>
                    </a:lnTo>
                    <a:lnTo>
                      <a:pt x="288" y="256"/>
                    </a:lnTo>
                    <a:lnTo>
                      <a:pt x="280" y="256"/>
                    </a:lnTo>
                    <a:lnTo>
                      <a:pt x="282" y="248"/>
                    </a:lnTo>
                    <a:lnTo>
                      <a:pt x="282" y="248"/>
                    </a:lnTo>
                    <a:lnTo>
                      <a:pt x="282" y="248"/>
                    </a:lnTo>
                    <a:lnTo>
                      <a:pt x="282" y="248"/>
                    </a:lnTo>
                    <a:lnTo>
                      <a:pt x="274" y="248"/>
                    </a:lnTo>
                    <a:lnTo>
                      <a:pt x="272" y="248"/>
                    </a:lnTo>
                    <a:lnTo>
                      <a:pt x="272" y="248"/>
                    </a:lnTo>
                    <a:lnTo>
                      <a:pt x="268" y="246"/>
                    </a:lnTo>
                    <a:lnTo>
                      <a:pt x="264" y="242"/>
                    </a:lnTo>
                    <a:lnTo>
                      <a:pt x="264" y="242"/>
                    </a:lnTo>
                    <a:lnTo>
                      <a:pt x="262" y="238"/>
                    </a:lnTo>
                    <a:lnTo>
                      <a:pt x="262" y="238"/>
                    </a:lnTo>
                    <a:lnTo>
                      <a:pt x="258" y="232"/>
                    </a:lnTo>
                    <a:lnTo>
                      <a:pt x="258" y="232"/>
                    </a:lnTo>
                    <a:lnTo>
                      <a:pt x="254" y="232"/>
                    </a:lnTo>
                    <a:lnTo>
                      <a:pt x="250" y="232"/>
                    </a:lnTo>
                    <a:lnTo>
                      <a:pt x="250" y="232"/>
                    </a:lnTo>
                    <a:lnTo>
                      <a:pt x="250" y="232"/>
                    </a:lnTo>
                    <a:lnTo>
                      <a:pt x="250" y="232"/>
                    </a:lnTo>
                    <a:lnTo>
                      <a:pt x="248" y="232"/>
                    </a:lnTo>
                    <a:lnTo>
                      <a:pt x="248" y="232"/>
                    </a:lnTo>
                    <a:lnTo>
                      <a:pt x="244" y="230"/>
                    </a:lnTo>
                    <a:lnTo>
                      <a:pt x="240" y="226"/>
                    </a:lnTo>
                    <a:lnTo>
                      <a:pt x="240" y="226"/>
                    </a:lnTo>
                    <a:lnTo>
                      <a:pt x="240" y="226"/>
                    </a:lnTo>
                    <a:lnTo>
                      <a:pt x="240" y="226"/>
                    </a:lnTo>
                    <a:lnTo>
                      <a:pt x="238" y="224"/>
                    </a:lnTo>
                    <a:lnTo>
                      <a:pt x="234" y="224"/>
                    </a:lnTo>
                    <a:lnTo>
                      <a:pt x="234" y="224"/>
                    </a:lnTo>
                    <a:lnTo>
                      <a:pt x="232" y="224"/>
                    </a:lnTo>
                    <a:lnTo>
                      <a:pt x="232" y="224"/>
                    </a:lnTo>
                    <a:lnTo>
                      <a:pt x="229" y="224"/>
                    </a:lnTo>
                    <a:lnTo>
                      <a:pt x="229" y="226"/>
                    </a:lnTo>
                    <a:lnTo>
                      <a:pt x="229" y="226"/>
                    </a:lnTo>
                    <a:lnTo>
                      <a:pt x="227" y="228"/>
                    </a:lnTo>
                    <a:lnTo>
                      <a:pt x="225" y="230"/>
                    </a:lnTo>
                    <a:lnTo>
                      <a:pt x="221" y="232"/>
                    </a:lnTo>
                    <a:lnTo>
                      <a:pt x="221" y="232"/>
                    </a:lnTo>
                    <a:lnTo>
                      <a:pt x="219" y="232"/>
                    </a:lnTo>
                    <a:lnTo>
                      <a:pt x="219" y="232"/>
                    </a:lnTo>
                    <a:lnTo>
                      <a:pt x="219" y="232"/>
                    </a:lnTo>
                    <a:lnTo>
                      <a:pt x="197" y="232"/>
                    </a:lnTo>
                    <a:lnTo>
                      <a:pt x="197" y="230"/>
                    </a:lnTo>
                    <a:lnTo>
                      <a:pt x="197" y="230"/>
                    </a:lnTo>
                    <a:lnTo>
                      <a:pt x="197" y="230"/>
                    </a:lnTo>
                    <a:lnTo>
                      <a:pt x="197" y="230"/>
                    </a:lnTo>
                    <a:lnTo>
                      <a:pt x="195" y="236"/>
                    </a:lnTo>
                    <a:lnTo>
                      <a:pt x="195" y="236"/>
                    </a:lnTo>
                    <a:lnTo>
                      <a:pt x="195" y="244"/>
                    </a:lnTo>
                    <a:lnTo>
                      <a:pt x="193" y="248"/>
                    </a:lnTo>
                    <a:lnTo>
                      <a:pt x="189" y="252"/>
                    </a:lnTo>
                    <a:lnTo>
                      <a:pt x="183" y="256"/>
                    </a:lnTo>
                    <a:lnTo>
                      <a:pt x="177" y="256"/>
                    </a:lnTo>
                    <a:lnTo>
                      <a:pt x="177" y="250"/>
                    </a:lnTo>
                    <a:lnTo>
                      <a:pt x="177" y="250"/>
                    </a:lnTo>
                    <a:lnTo>
                      <a:pt x="175" y="238"/>
                    </a:lnTo>
                    <a:lnTo>
                      <a:pt x="169" y="224"/>
                    </a:lnTo>
                    <a:lnTo>
                      <a:pt x="161" y="212"/>
                    </a:lnTo>
                    <a:lnTo>
                      <a:pt x="151" y="200"/>
                    </a:lnTo>
                    <a:lnTo>
                      <a:pt x="151" y="200"/>
                    </a:lnTo>
                    <a:lnTo>
                      <a:pt x="141" y="190"/>
                    </a:lnTo>
                    <a:lnTo>
                      <a:pt x="141" y="190"/>
                    </a:lnTo>
                    <a:lnTo>
                      <a:pt x="125" y="174"/>
                    </a:lnTo>
                    <a:lnTo>
                      <a:pt x="119" y="164"/>
                    </a:lnTo>
                    <a:lnTo>
                      <a:pt x="113" y="157"/>
                    </a:lnTo>
                    <a:lnTo>
                      <a:pt x="109" y="151"/>
                    </a:lnTo>
                    <a:lnTo>
                      <a:pt x="115" y="149"/>
                    </a:lnTo>
                    <a:lnTo>
                      <a:pt x="115" y="149"/>
                    </a:lnTo>
                    <a:lnTo>
                      <a:pt x="121" y="145"/>
                    </a:lnTo>
                    <a:lnTo>
                      <a:pt x="125" y="143"/>
                    </a:lnTo>
                    <a:lnTo>
                      <a:pt x="125" y="143"/>
                    </a:lnTo>
                    <a:lnTo>
                      <a:pt x="129" y="137"/>
                    </a:lnTo>
                    <a:lnTo>
                      <a:pt x="129" y="137"/>
                    </a:lnTo>
                    <a:lnTo>
                      <a:pt x="131" y="133"/>
                    </a:lnTo>
                    <a:lnTo>
                      <a:pt x="131" y="133"/>
                    </a:lnTo>
                    <a:lnTo>
                      <a:pt x="133" y="127"/>
                    </a:lnTo>
                    <a:lnTo>
                      <a:pt x="139" y="121"/>
                    </a:lnTo>
                    <a:lnTo>
                      <a:pt x="139" y="121"/>
                    </a:lnTo>
                    <a:lnTo>
                      <a:pt x="145" y="117"/>
                    </a:lnTo>
                    <a:lnTo>
                      <a:pt x="153" y="117"/>
                    </a:lnTo>
                    <a:lnTo>
                      <a:pt x="155" y="117"/>
                    </a:lnTo>
                    <a:lnTo>
                      <a:pt x="155" y="117"/>
                    </a:lnTo>
                    <a:lnTo>
                      <a:pt x="157" y="115"/>
                    </a:lnTo>
                    <a:lnTo>
                      <a:pt x="159" y="115"/>
                    </a:lnTo>
                    <a:lnTo>
                      <a:pt x="159" y="115"/>
                    </a:lnTo>
                    <a:lnTo>
                      <a:pt x="161" y="113"/>
                    </a:lnTo>
                    <a:lnTo>
                      <a:pt x="161" y="113"/>
                    </a:lnTo>
                    <a:lnTo>
                      <a:pt x="163" y="109"/>
                    </a:lnTo>
                    <a:lnTo>
                      <a:pt x="165" y="109"/>
                    </a:lnTo>
                    <a:lnTo>
                      <a:pt x="169" y="107"/>
                    </a:lnTo>
                    <a:lnTo>
                      <a:pt x="177" y="107"/>
                    </a:lnTo>
                    <a:lnTo>
                      <a:pt x="177" y="107"/>
                    </a:lnTo>
                    <a:lnTo>
                      <a:pt x="179" y="109"/>
                    </a:lnTo>
                    <a:lnTo>
                      <a:pt x="179" y="109"/>
                    </a:lnTo>
                    <a:lnTo>
                      <a:pt x="183" y="109"/>
                    </a:lnTo>
                    <a:lnTo>
                      <a:pt x="183" y="109"/>
                    </a:lnTo>
                    <a:lnTo>
                      <a:pt x="185" y="109"/>
                    </a:lnTo>
                    <a:lnTo>
                      <a:pt x="185" y="109"/>
                    </a:lnTo>
                    <a:lnTo>
                      <a:pt x="185" y="105"/>
                    </a:lnTo>
                    <a:lnTo>
                      <a:pt x="185" y="105"/>
                    </a:lnTo>
                    <a:lnTo>
                      <a:pt x="187" y="101"/>
                    </a:lnTo>
                    <a:lnTo>
                      <a:pt x="189" y="101"/>
                    </a:lnTo>
                    <a:lnTo>
                      <a:pt x="193" y="99"/>
                    </a:lnTo>
                    <a:lnTo>
                      <a:pt x="193" y="99"/>
                    </a:lnTo>
                    <a:lnTo>
                      <a:pt x="195" y="99"/>
                    </a:lnTo>
                    <a:lnTo>
                      <a:pt x="195" y="99"/>
                    </a:lnTo>
                    <a:lnTo>
                      <a:pt x="197" y="99"/>
                    </a:lnTo>
                    <a:lnTo>
                      <a:pt x="219" y="99"/>
                    </a:lnTo>
                    <a:lnTo>
                      <a:pt x="219" y="103"/>
                    </a:lnTo>
                    <a:lnTo>
                      <a:pt x="219" y="103"/>
                    </a:lnTo>
                    <a:lnTo>
                      <a:pt x="225" y="101"/>
                    </a:lnTo>
                    <a:lnTo>
                      <a:pt x="225" y="101"/>
                    </a:lnTo>
                    <a:lnTo>
                      <a:pt x="225" y="101"/>
                    </a:lnTo>
                    <a:lnTo>
                      <a:pt x="225" y="101"/>
                    </a:lnTo>
                    <a:lnTo>
                      <a:pt x="225" y="99"/>
                    </a:lnTo>
                    <a:lnTo>
                      <a:pt x="225" y="99"/>
                    </a:lnTo>
                    <a:lnTo>
                      <a:pt x="225" y="97"/>
                    </a:lnTo>
                    <a:lnTo>
                      <a:pt x="223" y="95"/>
                    </a:lnTo>
                    <a:lnTo>
                      <a:pt x="223" y="95"/>
                    </a:lnTo>
                    <a:lnTo>
                      <a:pt x="217" y="91"/>
                    </a:lnTo>
                    <a:lnTo>
                      <a:pt x="215" y="87"/>
                    </a:lnTo>
                    <a:lnTo>
                      <a:pt x="215" y="87"/>
                    </a:lnTo>
                    <a:lnTo>
                      <a:pt x="213" y="83"/>
                    </a:lnTo>
                    <a:lnTo>
                      <a:pt x="213" y="83"/>
                    </a:lnTo>
                    <a:lnTo>
                      <a:pt x="211" y="81"/>
                    </a:lnTo>
                    <a:lnTo>
                      <a:pt x="207" y="79"/>
                    </a:lnTo>
                    <a:lnTo>
                      <a:pt x="207" y="79"/>
                    </a:lnTo>
                    <a:lnTo>
                      <a:pt x="203" y="75"/>
                    </a:lnTo>
                    <a:lnTo>
                      <a:pt x="201" y="73"/>
                    </a:lnTo>
                    <a:lnTo>
                      <a:pt x="201" y="67"/>
                    </a:lnTo>
                    <a:lnTo>
                      <a:pt x="201" y="67"/>
                    </a:lnTo>
                    <a:lnTo>
                      <a:pt x="201" y="65"/>
                    </a:lnTo>
                    <a:lnTo>
                      <a:pt x="201" y="49"/>
                    </a:lnTo>
                    <a:lnTo>
                      <a:pt x="207" y="51"/>
                    </a:lnTo>
                    <a:lnTo>
                      <a:pt x="207" y="51"/>
                    </a:lnTo>
                    <a:lnTo>
                      <a:pt x="209" y="51"/>
                    </a:lnTo>
                    <a:lnTo>
                      <a:pt x="209" y="51"/>
                    </a:lnTo>
                    <a:lnTo>
                      <a:pt x="209" y="47"/>
                    </a:lnTo>
                    <a:lnTo>
                      <a:pt x="209" y="47"/>
                    </a:lnTo>
                    <a:lnTo>
                      <a:pt x="209" y="45"/>
                    </a:lnTo>
                    <a:lnTo>
                      <a:pt x="209" y="45"/>
                    </a:lnTo>
                    <a:lnTo>
                      <a:pt x="209" y="37"/>
                    </a:lnTo>
                    <a:lnTo>
                      <a:pt x="209" y="37"/>
                    </a:lnTo>
                    <a:lnTo>
                      <a:pt x="207" y="37"/>
                    </a:lnTo>
                    <a:lnTo>
                      <a:pt x="207" y="37"/>
                    </a:lnTo>
                    <a:lnTo>
                      <a:pt x="205" y="37"/>
                    </a:lnTo>
                    <a:lnTo>
                      <a:pt x="203" y="35"/>
                    </a:lnTo>
                    <a:lnTo>
                      <a:pt x="203" y="35"/>
                    </a:lnTo>
                    <a:lnTo>
                      <a:pt x="201" y="31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1" y="29"/>
                    </a:lnTo>
                    <a:lnTo>
                      <a:pt x="201" y="25"/>
                    </a:lnTo>
                    <a:lnTo>
                      <a:pt x="201" y="25"/>
                    </a:lnTo>
                    <a:lnTo>
                      <a:pt x="201" y="21"/>
                    </a:lnTo>
                    <a:lnTo>
                      <a:pt x="201" y="21"/>
                    </a:lnTo>
                    <a:lnTo>
                      <a:pt x="201" y="21"/>
                    </a:lnTo>
                    <a:lnTo>
                      <a:pt x="201" y="21"/>
                    </a:lnTo>
                    <a:lnTo>
                      <a:pt x="199" y="21"/>
                    </a:lnTo>
                    <a:lnTo>
                      <a:pt x="199" y="21"/>
                    </a:lnTo>
                    <a:lnTo>
                      <a:pt x="195" y="19"/>
                    </a:lnTo>
                    <a:lnTo>
                      <a:pt x="193" y="13"/>
                    </a:lnTo>
                    <a:lnTo>
                      <a:pt x="193" y="0"/>
                    </a:lnTo>
                    <a:lnTo>
                      <a:pt x="203" y="4"/>
                    </a:lnTo>
                    <a:lnTo>
                      <a:pt x="203" y="4"/>
                    </a:lnTo>
                    <a:lnTo>
                      <a:pt x="236" y="21"/>
                    </a:lnTo>
                    <a:lnTo>
                      <a:pt x="236" y="21"/>
                    </a:lnTo>
                    <a:lnTo>
                      <a:pt x="258" y="31"/>
                    </a:lnTo>
                    <a:lnTo>
                      <a:pt x="280" y="43"/>
                    </a:lnTo>
                    <a:lnTo>
                      <a:pt x="280" y="43"/>
                    </a:lnTo>
                    <a:lnTo>
                      <a:pt x="298" y="57"/>
                    </a:lnTo>
                    <a:lnTo>
                      <a:pt x="314" y="69"/>
                    </a:lnTo>
                    <a:lnTo>
                      <a:pt x="314" y="69"/>
                    </a:lnTo>
                    <a:lnTo>
                      <a:pt x="322" y="75"/>
                    </a:lnTo>
                    <a:lnTo>
                      <a:pt x="326" y="75"/>
                    </a:lnTo>
                    <a:lnTo>
                      <a:pt x="326" y="75"/>
                    </a:lnTo>
                    <a:lnTo>
                      <a:pt x="330" y="77"/>
                    </a:lnTo>
                    <a:lnTo>
                      <a:pt x="332" y="77"/>
                    </a:lnTo>
                    <a:lnTo>
                      <a:pt x="332" y="81"/>
                    </a:lnTo>
                    <a:lnTo>
                      <a:pt x="332" y="81"/>
                    </a:lnTo>
                    <a:lnTo>
                      <a:pt x="334" y="81"/>
                    </a:lnTo>
                    <a:lnTo>
                      <a:pt x="334" y="81"/>
                    </a:lnTo>
                    <a:lnTo>
                      <a:pt x="336" y="87"/>
                    </a:lnTo>
                    <a:lnTo>
                      <a:pt x="342" y="91"/>
                    </a:lnTo>
                    <a:lnTo>
                      <a:pt x="342" y="91"/>
                    </a:lnTo>
                    <a:lnTo>
                      <a:pt x="350" y="91"/>
                    </a:lnTo>
                    <a:lnTo>
                      <a:pt x="356" y="91"/>
                    </a:lnTo>
                    <a:lnTo>
                      <a:pt x="356" y="95"/>
                    </a:lnTo>
                    <a:lnTo>
                      <a:pt x="356" y="95"/>
                    </a:lnTo>
                    <a:lnTo>
                      <a:pt x="360" y="103"/>
                    </a:lnTo>
                    <a:lnTo>
                      <a:pt x="360" y="103"/>
                    </a:lnTo>
                    <a:lnTo>
                      <a:pt x="364" y="107"/>
                    </a:lnTo>
                    <a:lnTo>
                      <a:pt x="370" y="113"/>
                    </a:lnTo>
                    <a:lnTo>
                      <a:pt x="370" y="113"/>
                    </a:lnTo>
                    <a:lnTo>
                      <a:pt x="374" y="115"/>
                    </a:lnTo>
                    <a:lnTo>
                      <a:pt x="378" y="115"/>
                    </a:lnTo>
                    <a:lnTo>
                      <a:pt x="387" y="115"/>
                    </a:lnTo>
                    <a:lnTo>
                      <a:pt x="387" y="119"/>
                    </a:lnTo>
                    <a:lnTo>
                      <a:pt x="387" y="119"/>
                    </a:lnTo>
                    <a:lnTo>
                      <a:pt x="389" y="123"/>
                    </a:lnTo>
                    <a:lnTo>
                      <a:pt x="389" y="123"/>
                    </a:lnTo>
                    <a:lnTo>
                      <a:pt x="393" y="129"/>
                    </a:lnTo>
                    <a:lnTo>
                      <a:pt x="399" y="135"/>
                    </a:lnTo>
                    <a:lnTo>
                      <a:pt x="399" y="135"/>
                    </a:lnTo>
                    <a:lnTo>
                      <a:pt x="409" y="141"/>
                    </a:lnTo>
                    <a:lnTo>
                      <a:pt x="409" y="141"/>
                    </a:lnTo>
                    <a:lnTo>
                      <a:pt x="415" y="143"/>
                    </a:lnTo>
                    <a:lnTo>
                      <a:pt x="415" y="143"/>
                    </a:lnTo>
                    <a:lnTo>
                      <a:pt x="423" y="149"/>
                    </a:lnTo>
                    <a:lnTo>
                      <a:pt x="427" y="153"/>
                    </a:lnTo>
                    <a:lnTo>
                      <a:pt x="427" y="153"/>
                    </a:lnTo>
                    <a:lnTo>
                      <a:pt x="431" y="159"/>
                    </a:lnTo>
                    <a:lnTo>
                      <a:pt x="431" y="159"/>
                    </a:lnTo>
                    <a:lnTo>
                      <a:pt x="439" y="166"/>
                    </a:lnTo>
                    <a:lnTo>
                      <a:pt x="445" y="170"/>
                    </a:lnTo>
                    <a:lnTo>
                      <a:pt x="449" y="172"/>
                    </a:lnTo>
                    <a:lnTo>
                      <a:pt x="451" y="172"/>
                    </a:lnTo>
                    <a:lnTo>
                      <a:pt x="453" y="174"/>
                    </a:lnTo>
                    <a:lnTo>
                      <a:pt x="453" y="174"/>
                    </a:lnTo>
                    <a:lnTo>
                      <a:pt x="465" y="192"/>
                    </a:lnTo>
                    <a:lnTo>
                      <a:pt x="481" y="208"/>
                    </a:lnTo>
                    <a:lnTo>
                      <a:pt x="481" y="208"/>
                    </a:lnTo>
                    <a:lnTo>
                      <a:pt x="497" y="222"/>
                    </a:lnTo>
                    <a:lnTo>
                      <a:pt x="497" y="222"/>
                    </a:lnTo>
                    <a:lnTo>
                      <a:pt x="507" y="228"/>
                    </a:lnTo>
                    <a:lnTo>
                      <a:pt x="507" y="228"/>
                    </a:lnTo>
                    <a:lnTo>
                      <a:pt x="509" y="232"/>
                    </a:lnTo>
                    <a:lnTo>
                      <a:pt x="511" y="236"/>
                    </a:lnTo>
                    <a:lnTo>
                      <a:pt x="511" y="236"/>
                    </a:lnTo>
                    <a:lnTo>
                      <a:pt x="511" y="238"/>
                    </a:lnTo>
                    <a:lnTo>
                      <a:pt x="511" y="238"/>
                    </a:lnTo>
                    <a:lnTo>
                      <a:pt x="515" y="242"/>
                    </a:lnTo>
                    <a:lnTo>
                      <a:pt x="519" y="246"/>
                    </a:lnTo>
                    <a:lnTo>
                      <a:pt x="519" y="246"/>
                    </a:lnTo>
                    <a:lnTo>
                      <a:pt x="525" y="250"/>
                    </a:lnTo>
                    <a:lnTo>
                      <a:pt x="531" y="256"/>
                    </a:lnTo>
                    <a:lnTo>
                      <a:pt x="531" y="256"/>
                    </a:lnTo>
                    <a:lnTo>
                      <a:pt x="535" y="264"/>
                    </a:lnTo>
                    <a:lnTo>
                      <a:pt x="535" y="264"/>
                    </a:lnTo>
                    <a:lnTo>
                      <a:pt x="539" y="272"/>
                    </a:lnTo>
                    <a:lnTo>
                      <a:pt x="539" y="272"/>
                    </a:lnTo>
                    <a:lnTo>
                      <a:pt x="542" y="278"/>
                    </a:lnTo>
                    <a:lnTo>
                      <a:pt x="548" y="282"/>
                    </a:lnTo>
                    <a:lnTo>
                      <a:pt x="548" y="282"/>
                    </a:lnTo>
                    <a:lnTo>
                      <a:pt x="552" y="286"/>
                    </a:lnTo>
                    <a:lnTo>
                      <a:pt x="552" y="286"/>
                    </a:lnTo>
                    <a:lnTo>
                      <a:pt x="556" y="288"/>
                    </a:lnTo>
                    <a:lnTo>
                      <a:pt x="558" y="290"/>
                    </a:lnTo>
                    <a:lnTo>
                      <a:pt x="558" y="290"/>
                    </a:lnTo>
                    <a:lnTo>
                      <a:pt x="558" y="290"/>
                    </a:lnTo>
                    <a:lnTo>
                      <a:pt x="558" y="290"/>
                    </a:lnTo>
                    <a:lnTo>
                      <a:pt x="560" y="294"/>
                    </a:lnTo>
                    <a:lnTo>
                      <a:pt x="562" y="296"/>
                    </a:lnTo>
                    <a:lnTo>
                      <a:pt x="562" y="296"/>
                    </a:lnTo>
                    <a:lnTo>
                      <a:pt x="564" y="300"/>
                    </a:lnTo>
                    <a:lnTo>
                      <a:pt x="566" y="304"/>
                    </a:lnTo>
                    <a:lnTo>
                      <a:pt x="566" y="304"/>
                    </a:lnTo>
                    <a:lnTo>
                      <a:pt x="568" y="310"/>
                    </a:lnTo>
                    <a:lnTo>
                      <a:pt x="568" y="310"/>
                    </a:lnTo>
                    <a:lnTo>
                      <a:pt x="574" y="315"/>
                    </a:lnTo>
                    <a:lnTo>
                      <a:pt x="574" y="315"/>
                    </a:lnTo>
                    <a:lnTo>
                      <a:pt x="574" y="315"/>
                    </a:lnTo>
                    <a:lnTo>
                      <a:pt x="574" y="315"/>
                    </a:lnTo>
                    <a:lnTo>
                      <a:pt x="578" y="317"/>
                    </a:lnTo>
                    <a:lnTo>
                      <a:pt x="582" y="321"/>
                    </a:lnTo>
                    <a:lnTo>
                      <a:pt x="582" y="321"/>
                    </a:lnTo>
                    <a:lnTo>
                      <a:pt x="584" y="325"/>
                    </a:lnTo>
                    <a:lnTo>
                      <a:pt x="584" y="325"/>
                    </a:lnTo>
                    <a:lnTo>
                      <a:pt x="588" y="329"/>
                    </a:lnTo>
                    <a:lnTo>
                      <a:pt x="590" y="335"/>
                    </a:lnTo>
                    <a:lnTo>
                      <a:pt x="590" y="335"/>
                    </a:lnTo>
                    <a:lnTo>
                      <a:pt x="590" y="339"/>
                    </a:lnTo>
                    <a:lnTo>
                      <a:pt x="590" y="339"/>
                    </a:lnTo>
                    <a:lnTo>
                      <a:pt x="590" y="341"/>
                    </a:lnTo>
                    <a:lnTo>
                      <a:pt x="590" y="341"/>
                    </a:lnTo>
                    <a:lnTo>
                      <a:pt x="592" y="341"/>
                    </a:lnTo>
                    <a:lnTo>
                      <a:pt x="592" y="341"/>
                    </a:lnTo>
                    <a:lnTo>
                      <a:pt x="596" y="343"/>
                    </a:lnTo>
                    <a:lnTo>
                      <a:pt x="600" y="347"/>
                    </a:lnTo>
                    <a:lnTo>
                      <a:pt x="600" y="347"/>
                    </a:lnTo>
                    <a:lnTo>
                      <a:pt x="600" y="349"/>
                    </a:lnTo>
                    <a:lnTo>
                      <a:pt x="600" y="349"/>
                    </a:lnTo>
                    <a:lnTo>
                      <a:pt x="600" y="349"/>
                    </a:lnTo>
                    <a:lnTo>
                      <a:pt x="604" y="355"/>
                    </a:lnTo>
                    <a:lnTo>
                      <a:pt x="604" y="355"/>
                    </a:lnTo>
                    <a:lnTo>
                      <a:pt x="606" y="359"/>
                    </a:lnTo>
                    <a:lnTo>
                      <a:pt x="606" y="363"/>
                    </a:lnTo>
                    <a:lnTo>
                      <a:pt x="606" y="363"/>
                    </a:lnTo>
                    <a:lnTo>
                      <a:pt x="606" y="365"/>
                    </a:lnTo>
                    <a:lnTo>
                      <a:pt x="606" y="365"/>
                    </a:lnTo>
                    <a:lnTo>
                      <a:pt x="606" y="365"/>
                    </a:lnTo>
                    <a:lnTo>
                      <a:pt x="606" y="365"/>
                    </a:lnTo>
                    <a:lnTo>
                      <a:pt x="610" y="365"/>
                    </a:lnTo>
                    <a:lnTo>
                      <a:pt x="614" y="365"/>
                    </a:lnTo>
                    <a:lnTo>
                      <a:pt x="614" y="377"/>
                    </a:lnTo>
                    <a:lnTo>
                      <a:pt x="614" y="377"/>
                    </a:lnTo>
                    <a:lnTo>
                      <a:pt x="614" y="379"/>
                    </a:lnTo>
                    <a:lnTo>
                      <a:pt x="614" y="379"/>
                    </a:lnTo>
                    <a:lnTo>
                      <a:pt x="614" y="381"/>
                    </a:lnTo>
                    <a:lnTo>
                      <a:pt x="614" y="381"/>
                    </a:lnTo>
                    <a:lnTo>
                      <a:pt x="618" y="381"/>
                    </a:lnTo>
                    <a:lnTo>
                      <a:pt x="620" y="381"/>
                    </a:lnTo>
                    <a:lnTo>
                      <a:pt x="622" y="385"/>
                    </a:lnTo>
                    <a:lnTo>
                      <a:pt x="622" y="385"/>
                    </a:lnTo>
                    <a:lnTo>
                      <a:pt x="624" y="389"/>
                    </a:lnTo>
                    <a:lnTo>
                      <a:pt x="624" y="389"/>
                    </a:lnTo>
                    <a:lnTo>
                      <a:pt x="630" y="397"/>
                    </a:lnTo>
                    <a:lnTo>
                      <a:pt x="630" y="397"/>
                    </a:lnTo>
                    <a:lnTo>
                      <a:pt x="630" y="403"/>
                    </a:lnTo>
                    <a:lnTo>
                      <a:pt x="630" y="403"/>
                    </a:lnTo>
                    <a:lnTo>
                      <a:pt x="630" y="405"/>
                    </a:lnTo>
                    <a:lnTo>
                      <a:pt x="630" y="405"/>
                    </a:lnTo>
                    <a:lnTo>
                      <a:pt x="632" y="405"/>
                    </a:lnTo>
                    <a:lnTo>
                      <a:pt x="632" y="405"/>
                    </a:lnTo>
                    <a:lnTo>
                      <a:pt x="632" y="405"/>
                    </a:lnTo>
                    <a:lnTo>
                      <a:pt x="632" y="405"/>
                    </a:lnTo>
                    <a:lnTo>
                      <a:pt x="638" y="407"/>
                    </a:lnTo>
                    <a:lnTo>
                      <a:pt x="638" y="413"/>
                    </a:lnTo>
                    <a:lnTo>
                      <a:pt x="638" y="419"/>
                    </a:lnTo>
                    <a:lnTo>
                      <a:pt x="638" y="421"/>
                    </a:lnTo>
                    <a:lnTo>
                      <a:pt x="638" y="421"/>
                    </a:lnTo>
                    <a:lnTo>
                      <a:pt x="638" y="421"/>
                    </a:lnTo>
                    <a:lnTo>
                      <a:pt x="638" y="421"/>
                    </a:lnTo>
                    <a:lnTo>
                      <a:pt x="638" y="421"/>
                    </a:lnTo>
                    <a:lnTo>
                      <a:pt x="638" y="421"/>
                    </a:lnTo>
                    <a:lnTo>
                      <a:pt x="642" y="423"/>
                    </a:lnTo>
                    <a:lnTo>
                      <a:pt x="646" y="423"/>
                    </a:lnTo>
                    <a:lnTo>
                      <a:pt x="646" y="427"/>
                    </a:lnTo>
                    <a:lnTo>
                      <a:pt x="646" y="427"/>
                    </a:lnTo>
                    <a:lnTo>
                      <a:pt x="646" y="431"/>
                    </a:lnTo>
                    <a:lnTo>
                      <a:pt x="646" y="431"/>
                    </a:lnTo>
                    <a:lnTo>
                      <a:pt x="646" y="437"/>
                    </a:lnTo>
                    <a:lnTo>
                      <a:pt x="646" y="437"/>
                    </a:lnTo>
                    <a:lnTo>
                      <a:pt x="650" y="439"/>
                    </a:lnTo>
                    <a:lnTo>
                      <a:pt x="654" y="439"/>
                    </a:lnTo>
                    <a:lnTo>
                      <a:pt x="654" y="449"/>
                    </a:lnTo>
                    <a:lnTo>
                      <a:pt x="654" y="449"/>
                    </a:lnTo>
                    <a:lnTo>
                      <a:pt x="654" y="453"/>
                    </a:lnTo>
                    <a:lnTo>
                      <a:pt x="654" y="453"/>
                    </a:lnTo>
                    <a:lnTo>
                      <a:pt x="654" y="453"/>
                    </a:lnTo>
                    <a:lnTo>
                      <a:pt x="654" y="453"/>
                    </a:lnTo>
                    <a:lnTo>
                      <a:pt x="658" y="455"/>
                    </a:lnTo>
                    <a:lnTo>
                      <a:pt x="662" y="455"/>
                    </a:lnTo>
                    <a:lnTo>
                      <a:pt x="662" y="459"/>
                    </a:lnTo>
                    <a:lnTo>
                      <a:pt x="662" y="459"/>
                    </a:lnTo>
                    <a:lnTo>
                      <a:pt x="662" y="464"/>
                    </a:lnTo>
                    <a:lnTo>
                      <a:pt x="662" y="464"/>
                    </a:lnTo>
                    <a:lnTo>
                      <a:pt x="662" y="470"/>
                    </a:lnTo>
                    <a:lnTo>
                      <a:pt x="662" y="470"/>
                    </a:lnTo>
                    <a:lnTo>
                      <a:pt x="664" y="470"/>
                    </a:lnTo>
                    <a:lnTo>
                      <a:pt x="664" y="470"/>
                    </a:lnTo>
                    <a:lnTo>
                      <a:pt x="666" y="470"/>
                    </a:lnTo>
                    <a:lnTo>
                      <a:pt x="666" y="470"/>
                    </a:lnTo>
                    <a:lnTo>
                      <a:pt x="668" y="470"/>
                    </a:lnTo>
                    <a:lnTo>
                      <a:pt x="670" y="472"/>
                    </a:lnTo>
                    <a:lnTo>
                      <a:pt x="670" y="472"/>
                    </a:lnTo>
                    <a:lnTo>
                      <a:pt x="672" y="476"/>
                    </a:lnTo>
                    <a:lnTo>
                      <a:pt x="672" y="478"/>
                    </a:lnTo>
                    <a:lnTo>
                      <a:pt x="672" y="478"/>
                    </a:lnTo>
                    <a:lnTo>
                      <a:pt x="672" y="480"/>
                    </a:lnTo>
                    <a:lnTo>
                      <a:pt x="672" y="480"/>
                    </a:lnTo>
                    <a:lnTo>
                      <a:pt x="670" y="490"/>
                    </a:lnTo>
                    <a:lnTo>
                      <a:pt x="670" y="490"/>
                    </a:lnTo>
                    <a:lnTo>
                      <a:pt x="668" y="496"/>
                    </a:lnTo>
                    <a:lnTo>
                      <a:pt x="668" y="496"/>
                    </a:lnTo>
                    <a:lnTo>
                      <a:pt x="666" y="508"/>
                    </a:lnTo>
                    <a:lnTo>
                      <a:pt x="666" y="508"/>
                    </a:lnTo>
                    <a:lnTo>
                      <a:pt x="668" y="526"/>
                    </a:lnTo>
                    <a:lnTo>
                      <a:pt x="670" y="544"/>
                    </a:lnTo>
                    <a:lnTo>
                      <a:pt x="670" y="544"/>
                    </a:lnTo>
                    <a:lnTo>
                      <a:pt x="678" y="580"/>
                    </a:lnTo>
                    <a:lnTo>
                      <a:pt x="688" y="612"/>
                    </a:lnTo>
                    <a:lnTo>
                      <a:pt x="690" y="623"/>
                    </a:lnTo>
                    <a:lnTo>
                      <a:pt x="678" y="617"/>
                    </a:lnTo>
                    <a:lnTo>
                      <a:pt x="678" y="617"/>
                    </a:lnTo>
                    <a:lnTo>
                      <a:pt x="672" y="612"/>
                    </a:lnTo>
                    <a:lnTo>
                      <a:pt x="664" y="606"/>
                    </a:lnTo>
                    <a:lnTo>
                      <a:pt x="664" y="606"/>
                    </a:lnTo>
                    <a:lnTo>
                      <a:pt x="662" y="600"/>
                    </a:lnTo>
                    <a:lnTo>
                      <a:pt x="660" y="594"/>
                    </a:lnTo>
                    <a:lnTo>
                      <a:pt x="660" y="594"/>
                    </a:lnTo>
                    <a:lnTo>
                      <a:pt x="660" y="594"/>
                    </a:lnTo>
                    <a:lnTo>
                      <a:pt x="660" y="594"/>
                    </a:lnTo>
                    <a:lnTo>
                      <a:pt x="656" y="594"/>
                    </a:lnTo>
                    <a:lnTo>
                      <a:pt x="654" y="592"/>
                    </a:lnTo>
                    <a:lnTo>
                      <a:pt x="652" y="586"/>
                    </a:lnTo>
                    <a:lnTo>
                      <a:pt x="652" y="574"/>
                    </a:lnTo>
                    <a:lnTo>
                      <a:pt x="652" y="574"/>
                    </a:lnTo>
                    <a:lnTo>
                      <a:pt x="652" y="570"/>
                    </a:lnTo>
                    <a:lnTo>
                      <a:pt x="652" y="570"/>
                    </a:lnTo>
                    <a:lnTo>
                      <a:pt x="652" y="570"/>
                    </a:lnTo>
                    <a:lnTo>
                      <a:pt x="652" y="570"/>
                    </a:lnTo>
                    <a:lnTo>
                      <a:pt x="650" y="570"/>
                    </a:lnTo>
                    <a:lnTo>
                      <a:pt x="650" y="570"/>
                    </a:lnTo>
                    <a:lnTo>
                      <a:pt x="646" y="568"/>
                    </a:lnTo>
                    <a:lnTo>
                      <a:pt x="644" y="564"/>
                    </a:lnTo>
                    <a:lnTo>
                      <a:pt x="644" y="558"/>
                    </a:lnTo>
                    <a:lnTo>
                      <a:pt x="644" y="558"/>
                    </a:lnTo>
                    <a:lnTo>
                      <a:pt x="644" y="554"/>
                    </a:lnTo>
                    <a:lnTo>
                      <a:pt x="644" y="554"/>
                    </a:lnTo>
                    <a:lnTo>
                      <a:pt x="644" y="554"/>
                    </a:lnTo>
                    <a:lnTo>
                      <a:pt x="644" y="554"/>
                    </a:lnTo>
                    <a:lnTo>
                      <a:pt x="640" y="552"/>
                    </a:lnTo>
                    <a:lnTo>
                      <a:pt x="638" y="552"/>
                    </a:lnTo>
                    <a:lnTo>
                      <a:pt x="636" y="548"/>
                    </a:lnTo>
                    <a:lnTo>
                      <a:pt x="636" y="548"/>
                    </a:lnTo>
                    <a:lnTo>
                      <a:pt x="634" y="544"/>
                    </a:lnTo>
                    <a:lnTo>
                      <a:pt x="634" y="544"/>
                    </a:lnTo>
                    <a:lnTo>
                      <a:pt x="630" y="540"/>
                    </a:lnTo>
                    <a:lnTo>
                      <a:pt x="628" y="536"/>
                    </a:lnTo>
                    <a:lnTo>
                      <a:pt x="628" y="536"/>
                    </a:lnTo>
                    <a:lnTo>
                      <a:pt x="628" y="530"/>
                    </a:lnTo>
                    <a:lnTo>
                      <a:pt x="628" y="530"/>
                    </a:lnTo>
                    <a:lnTo>
                      <a:pt x="628" y="530"/>
                    </a:lnTo>
                    <a:lnTo>
                      <a:pt x="628" y="530"/>
                    </a:lnTo>
                    <a:lnTo>
                      <a:pt x="626" y="530"/>
                    </a:lnTo>
                    <a:lnTo>
                      <a:pt x="626" y="530"/>
                    </a:lnTo>
                    <a:lnTo>
                      <a:pt x="626" y="530"/>
                    </a:lnTo>
                    <a:lnTo>
                      <a:pt x="626" y="530"/>
                    </a:lnTo>
                    <a:lnTo>
                      <a:pt x="622" y="528"/>
                    </a:lnTo>
                    <a:lnTo>
                      <a:pt x="620" y="522"/>
                    </a:lnTo>
                    <a:lnTo>
                      <a:pt x="620" y="518"/>
                    </a:lnTo>
                    <a:lnTo>
                      <a:pt x="620" y="518"/>
                    </a:lnTo>
                    <a:lnTo>
                      <a:pt x="620" y="514"/>
                    </a:lnTo>
                    <a:lnTo>
                      <a:pt x="620" y="514"/>
                    </a:lnTo>
                    <a:lnTo>
                      <a:pt x="620" y="514"/>
                    </a:lnTo>
                    <a:lnTo>
                      <a:pt x="618" y="512"/>
                    </a:lnTo>
                    <a:lnTo>
                      <a:pt x="618" y="512"/>
                    </a:lnTo>
                    <a:lnTo>
                      <a:pt x="614" y="512"/>
                    </a:lnTo>
                    <a:lnTo>
                      <a:pt x="612" y="508"/>
                    </a:lnTo>
                    <a:lnTo>
                      <a:pt x="612" y="502"/>
                    </a:lnTo>
                    <a:lnTo>
                      <a:pt x="612" y="502"/>
                    </a:lnTo>
                    <a:lnTo>
                      <a:pt x="612" y="498"/>
                    </a:lnTo>
                    <a:lnTo>
                      <a:pt x="612" y="498"/>
                    </a:lnTo>
                    <a:lnTo>
                      <a:pt x="612" y="498"/>
                    </a:lnTo>
                    <a:lnTo>
                      <a:pt x="612" y="498"/>
                    </a:lnTo>
                    <a:lnTo>
                      <a:pt x="608" y="496"/>
                    </a:lnTo>
                    <a:lnTo>
                      <a:pt x="606" y="494"/>
                    </a:lnTo>
                    <a:lnTo>
                      <a:pt x="604" y="490"/>
                    </a:lnTo>
                    <a:lnTo>
                      <a:pt x="604" y="490"/>
                    </a:lnTo>
                    <a:lnTo>
                      <a:pt x="604" y="484"/>
                    </a:lnTo>
                    <a:lnTo>
                      <a:pt x="602" y="482"/>
                    </a:lnTo>
                    <a:lnTo>
                      <a:pt x="602" y="482"/>
                    </a:lnTo>
                    <a:lnTo>
                      <a:pt x="598" y="476"/>
                    </a:lnTo>
                    <a:lnTo>
                      <a:pt x="594" y="474"/>
                    </a:lnTo>
                    <a:lnTo>
                      <a:pt x="594" y="474"/>
                    </a:lnTo>
                    <a:lnTo>
                      <a:pt x="592" y="472"/>
                    </a:lnTo>
                    <a:lnTo>
                      <a:pt x="592" y="472"/>
                    </a:lnTo>
                    <a:lnTo>
                      <a:pt x="586" y="470"/>
                    </a:lnTo>
                    <a:lnTo>
                      <a:pt x="582" y="468"/>
                    </a:lnTo>
                    <a:lnTo>
                      <a:pt x="580" y="464"/>
                    </a:lnTo>
                    <a:lnTo>
                      <a:pt x="580" y="464"/>
                    </a:lnTo>
                    <a:lnTo>
                      <a:pt x="580" y="459"/>
                    </a:lnTo>
                    <a:lnTo>
                      <a:pt x="580" y="459"/>
                    </a:lnTo>
                    <a:lnTo>
                      <a:pt x="580" y="457"/>
                    </a:lnTo>
                    <a:lnTo>
                      <a:pt x="580" y="457"/>
                    </a:lnTo>
                    <a:lnTo>
                      <a:pt x="578" y="457"/>
                    </a:lnTo>
                    <a:lnTo>
                      <a:pt x="578" y="457"/>
                    </a:lnTo>
                    <a:lnTo>
                      <a:pt x="576" y="457"/>
                    </a:lnTo>
                    <a:lnTo>
                      <a:pt x="572" y="457"/>
                    </a:lnTo>
                    <a:lnTo>
                      <a:pt x="572" y="443"/>
                    </a:lnTo>
                    <a:lnTo>
                      <a:pt x="572" y="443"/>
                    </a:lnTo>
                    <a:lnTo>
                      <a:pt x="572" y="433"/>
                    </a:lnTo>
                    <a:lnTo>
                      <a:pt x="572" y="433"/>
                    </a:lnTo>
                    <a:lnTo>
                      <a:pt x="572" y="433"/>
                    </a:lnTo>
                    <a:lnTo>
                      <a:pt x="572" y="433"/>
                    </a:lnTo>
                    <a:lnTo>
                      <a:pt x="568" y="433"/>
                    </a:lnTo>
                    <a:lnTo>
                      <a:pt x="562" y="433"/>
                    </a:lnTo>
                    <a:lnTo>
                      <a:pt x="564" y="427"/>
                    </a:lnTo>
                    <a:lnTo>
                      <a:pt x="564" y="427"/>
                    </a:lnTo>
                    <a:lnTo>
                      <a:pt x="564" y="425"/>
                    </a:lnTo>
                    <a:lnTo>
                      <a:pt x="564" y="425"/>
                    </a:lnTo>
                    <a:lnTo>
                      <a:pt x="564" y="425"/>
                    </a:lnTo>
                    <a:lnTo>
                      <a:pt x="564" y="425"/>
                    </a:lnTo>
                    <a:lnTo>
                      <a:pt x="560" y="425"/>
                    </a:lnTo>
                    <a:lnTo>
                      <a:pt x="556" y="425"/>
                    </a:lnTo>
                    <a:lnTo>
                      <a:pt x="556" y="421"/>
                    </a:lnTo>
                    <a:lnTo>
                      <a:pt x="556" y="421"/>
                    </a:lnTo>
                    <a:lnTo>
                      <a:pt x="552" y="415"/>
                    </a:lnTo>
                    <a:lnTo>
                      <a:pt x="550" y="411"/>
                    </a:lnTo>
                    <a:lnTo>
                      <a:pt x="550" y="411"/>
                    </a:lnTo>
                    <a:lnTo>
                      <a:pt x="548" y="417"/>
                    </a:lnTo>
                    <a:lnTo>
                      <a:pt x="539" y="417"/>
                    </a:lnTo>
                    <a:lnTo>
                      <a:pt x="539" y="417"/>
                    </a:lnTo>
                    <a:lnTo>
                      <a:pt x="558" y="443"/>
                    </a:lnTo>
                    <a:lnTo>
                      <a:pt x="562" y="451"/>
                    </a:lnTo>
                    <a:lnTo>
                      <a:pt x="562" y="451"/>
                    </a:lnTo>
                    <a:lnTo>
                      <a:pt x="582" y="480"/>
                    </a:lnTo>
                    <a:lnTo>
                      <a:pt x="582" y="480"/>
                    </a:lnTo>
                    <a:lnTo>
                      <a:pt x="588" y="488"/>
                    </a:lnTo>
                    <a:lnTo>
                      <a:pt x="590" y="490"/>
                    </a:lnTo>
                    <a:lnTo>
                      <a:pt x="590" y="492"/>
                    </a:lnTo>
                    <a:lnTo>
                      <a:pt x="590" y="492"/>
                    </a:lnTo>
                    <a:lnTo>
                      <a:pt x="590" y="494"/>
                    </a:lnTo>
                    <a:lnTo>
                      <a:pt x="590" y="494"/>
                    </a:lnTo>
                    <a:lnTo>
                      <a:pt x="592" y="494"/>
                    </a:lnTo>
                    <a:lnTo>
                      <a:pt x="598" y="494"/>
                    </a:lnTo>
                    <a:lnTo>
                      <a:pt x="598" y="500"/>
                    </a:lnTo>
                    <a:lnTo>
                      <a:pt x="598" y="500"/>
                    </a:lnTo>
                    <a:lnTo>
                      <a:pt x="598" y="500"/>
                    </a:lnTo>
                    <a:lnTo>
                      <a:pt x="598" y="510"/>
                    </a:lnTo>
                    <a:lnTo>
                      <a:pt x="598" y="510"/>
                    </a:lnTo>
                    <a:lnTo>
                      <a:pt x="598" y="510"/>
                    </a:lnTo>
                    <a:lnTo>
                      <a:pt x="598" y="510"/>
                    </a:lnTo>
                    <a:lnTo>
                      <a:pt x="602" y="510"/>
                    </a:lnTo>
                    <a:lnTo>
                      <a:pt x="604" y="512"/>
                    </a:lnTo>
                    <a:lnTo>
                      <a:pt x="606" y="516"/>
                    </a:lnTo>
                    <a:lnTo>
                      <a:pt x="606" y="516"/>
                    </a:lnTo>
                    <a:lnTo>
                      <a:pt x="608" y="520"/>
                    </a:lnTo>
                    <a:lnTo>
                      <a:pt x="612" y="524"/>
                    </a:lnTo>
                    <a:lnTo>
                      <a:pt x="614" y="524"/>
                    </a:lnTo>
                    <a:lnTo>
                      <a:pt x="614" y="524"/>
                    </a:lnTo>
                    <a:lnTo>
                      <a:pt x="620" y="532"/>
                    </a:lnTo>
                    <a:lnTo>
                      <a:pt x="622" y="536"/>
                    </a:lnTo>
                    <a:lnTo>
                      <a:pt x="622" y="542"/>
                    </a:lnTo>
                    <a:lnTo>
                      <a:pt x="622" y="542"/>
                    </a:lnTo>
                    <a:lnTo>
                      <a:pt x="626" y="542"/>
                    </a:lnTo>
                    <a:lnTo>
                      <a:pt x="632" y="544"/>
                    </a:lnTo>
                    <a:lnTo>
                      <a:pt x="630" y="550"/>
                    </a:lnTo>
                    <a:lnTo>
                      <a:pt x="630" y="550"/>
                    </a:lnTo>
                    <a:lnTo>
                      <a:pt x="630" y="558"/>
                    </a:lnTo>
                    <a:lnTo>
                      <a:pt x="630" y="566"/>
                    </a:lnTo>
                    <a:lnTo>
                      <a:pt x="632" y="574"/>
                    </a:lnTo>
                    <a:lnTo>
                      <a:pt x="636" y="580"/>
                    </a:lnTo>
                    <a:lnTo>
                      <a:pt x="636" y="580"/>
                    </a:lnTo>
                    <a:lnTo>
                      <a:pt x="642" y="584"/>
                    </a:lnTo>
                    <a:lnTo>
                      <a:pt x="642" y="584"/>
                    </a:lnTo>
                    <a:lnTo>
                      <a:pt x="646" y="590"/>
                    </a:lnTo>
                    <a:lnTo>
                      <a:pt x="646" y="590"/>
                    </a:lnTo>
                    <a:lnTo>
                      <a:pt x="652" y="598"/>
                    </a:lnTo>
                    <a:lnTo>
                      <a:pt x="652" y="598"/>
                    </a:lnTo>
                    <a:lnTo>
                      <a:pt x="654" y="602"/>
                    </a:lnTo>
                    <a:lnTo>
                      <a:pt x="654" y="602"/>
                    </a:lnTo>
                    <a:lnTo>
                      <a:pt x="654" y="606"/>
                    </a:lnTo>
                    <a:lnTo>
                      <a:pt x="654" y="606"/>
                    </a:lnTo>
                    <a:lnTo>
                      <a:pt x="654" y="606"/>
                    </a:lnTo>
                    <a:lnTo>
                      <a:pt x="654" y="606"/>
                    </a:lnTo>
                    <a:lnTo>
                      <a:pt x="656" y="608"/>
                    </a:lnTo>
                    <a:lnTo>
                      <a:pt x="656" y="608"/>
                    </a:lnTo>
                    <a:lnTo>
                      <a:pt x="660" y="610"/>
                    </a:lnTo>
                    <a:lnTo>
                      <a:pt x="662" y="612"/>
                    </a:lnTo>
                    <a:lnTo>
                      <a:pt x="662" y="619"/>
                    </a:lnTo>
                    <a:lnTo>
                      <a:pt x="662" y="619"/>
                    </a:lnTo>
                    <a:lnTo>
                      <a:pt x="662" y="623"/>
                    </a:lnTo>
                    <a:lnTo>
                      <a:pt x="662" y="623"/>
                    </a:lnTo>
                    <a:lnTo>
                      <a:pt x="666" y="623"/>
                    </a:lnTo>
                    <a:lnTo>
                      <a:pt x="666" y="623"/>
                    </a:lnTo>
                    <a:lnTo>
                      <a:pt x="670" y="625"/>
                    </a:lnTo>
                    <a:lnTo>
                      <a:pt x="672" y="629"/>
                    </a:lnTo>
                    <a:lnTo>
                      <a:pt x="672" y="629"/>
                    </a:lnTo>
                    <a:lnTo>
                      <a:pt x="674" y="631"/>
                    </a:lnTo>
                    <a:lnTo>
                      <a:pt x="674" y="631"/>
                    </a:lnTo>
                    <a:lnTo>
                      <a:pt x="678" y="637"/>
                    </a:lnTo>
                    <a:lnTo>
                      <a:pt x="680" y="645"/>
                    </a:lnTo>
                    <a:lnTo>
                      <a:pt x="680" y="645"/>
                    </a:lnTo>
                    <a:lnTo>
                      <a:pt x="680" y="645"/>
                    </a:lnTo>
                    <a:lnTo>
                      <a:pt x="680" y="645"/>
                    </a:lnTo>
                    <a:lnTo>
                      <a:pt x="678" y="647"/>
                    </a:lnTo>
                    <a:lnTo>
                      <a:pt x="678" y="647"/>
                    </a:lnTo>
                    <a:lnTo>
                      <a:pt x="688" y="647"/>
                    </a:lnTo>
                    <a:lnTo>
                      <a:pt x="688" y="671"/>
                    </a:lnTo>
                    <a:lnTo>
                      <a:pt x="688" y="671"/>
                    </a:lnTo>
                    <a:lnTo>
                      <a:pt x="690" y="675"/>
                    </a:lnTo>
                    <a:lnTo>
                      <a:pt x="690" y="679"/>
                    </a:lnTo>
                    <a:lnTo>
                      <a:pt x="690" y="679"/>
                    </a:lnTo>
                    <a:lnTo>
                      <a:pt x="707" y="695"/>
                    </a:lnTo>
                    <a:lnTo>
                      <a:pt x="707" y="695"/>
                    </a:lnTo>
                    <a:lnTo>
                      <a:pt x="709" y="699"/>
                    </a:lnTo>
                    <a:lnTo>
                      <a:pt x="711" y="703"/>
                    </a:lnTo>
                    <a:lnTo>
                      <a:pt x="711" y="713"/>
                    </a:lnTo>
                    <a:lnTo>
                      <a:pt x="711" y="713"/>
                    </a:lnTo>
                    <a:lnTo>
                      <a:pt x="711" y="715"/>
                    </a:lnTo>
                    <a:lnTo>
                      <a:pt x="711" y="755"/>
                    </a:lnTo>
                    <a:lnTo>
                      <a:pt x="705" y="755"/>
                    </a:lnTo>
                    <a:lnTo>
                      <a:pt x="705" y="755"/>
                    </a:lnTo>
                    <a:lnTo>
                      <a:pt x="705" y="757"/>
                    </a:lnTo>
                    <a:lnTo>
                      <a:pt x="705" y="757"/>
                    </a:lnTo>
                    <a:lnTo>
                      <a:pt x="703" y="761"/>
                    </a:lnTo>
                    <a:lnTo>
                      <a:pt x="703" y="766"/>
                    </a:lnTo>
                    <a:lnTo>
                      <a:pt x="703" y="766"/>
                    </a:lnTo>
                    <a:lnTo>
                      <a:pt x="703" y="772"/>
                    </a:lnTo>
                    <a:lnTo>
                      <a:pt x="703" y="772"/>
                    </a:lnTo>
                    <a:lnTo>
                      <a:pt x="703" y="782"/>
                    </a:lnTo>
                    <a:lnTo>
                      <a:pt x="703" y="782"/>
                    </a:lnTo>
                    <a:lnTo>
                      <a:pt x="703" y="788"/>
                    </a:lnTo>
                    <a:lnTo>
                      <a:pt x="703" y="788"/>
                    </a:lnTo>
                    <a:lnTo>
                      <a:pt x="701" y="790"/>
                    </a:lnTo>
                    <a:lnTo>
                      <a:pt x="701" y="792"/>
                    </a:lnTo>
                    <a:lnTo>
                      <a:pt x="697" y="794"/>
                    </a:lnTo>
                    <a:lnTo>
                      <a:pt x="697" y="794"/>
                    </a:lnTo>
                    <a:lnTo>
                      <a:pt x="697" y="796"/>
                    </a:lnTo>
                    <a:lnTo>
                      <a:pt x="697" y="796"/>
                    </a:lnTo>
                    <a:lnTo>
                      <a:pt x="695" y="804"/>
                    </a:lnTo>
                    <a:lnTo>
                      <a:pt x="695" y="812"/>
                    </a:lnTo>
                    <a:lnTo>
                      <a:pt x="695" y="816"/>
                    </a:lnTo>
                    <a:lnTo>
                      <a:pt x="695" y="816"/>
                    </a:lnTo>
                    <a:lnTo>
                      <a:pt x="695" y="820"/>
                    </a:lnTo>
                    <a:lnTo>
                      <a:pt x="695" y="820"/>
                    </a:lnTo>
                    <a:lnTo>
                      <a:pt x="695" y="828"/>
                    </a:lnTo>
                    <a:lnTo>
                      <a:pt x="695" y="830"/>
                    </a:lnTo>
                    <a:lnTo>
                      <a:pt x="697" y="832"/>
                    </a:lnTo>
                    <a:lnTo>
                      <a:pt x="697" y="832"/>
                    </a:lnTo>
                    <a:lnTo>
                      <a:pt x="697" y="832"/>
                    </a:lnTo>
                    <a:lnTo>
                      <a:pt x="697" y="832"/>
                    </a:lnTo>
                    <a:lnTo>
                      <a:pt x="701" y="836"/>
                    </a:lnTo>
                    <a:lnTo>
                      <a:pt x="703" y="840"/>
                    </a:lnTo>
                    <a:lnTo>
                      <a:pt x="703" y="868"/>
                    </a:lnTo>
                    <a:lnTo>
                      <a:pt x="695" y="868"/>
                    </a:lnTo>
                    <a:lnTo>
                      <a:pt x="695" y="868"/>
                    </a:lnTo>
                    <a:lnTo>
                      <a:pt x="695" y="868"/>
                    </a:lnTo>
                    <a:lnTo>
                      <a:pt x="695" y="868"/>
                    </a:lnTo>
                    <a:lnTo>
                      <a:pt x="695" y="872"/>
                    </a:lnTo>
                    <a:lnTo>
                      <a:pt x="695" y="876"/>
                    </a:lnTo>
                    <a:lnTo>
                      <a:pt x="695" y="876"/>
                    </a:lnTo>
                    <a:lnTo>
                      <a:pt x="695" y="878"/>
                    </a:lnTo>
                    <a:lnTo>
                      <a:pt x="695" y="886"/>
                    </a:lnTo>
                    <a:lnTo>
                      <a:pt x="688" y="884"/>
                    </a:lnTo>
                    <a:lnTo>
                      <a:pt x="688" y="884"/>
                    </a:lnTo>
                    <a:lnTo>
                      <a:pt x="688" y="884"/>
                    </a:lnTo>
                    <a:lnTo>
                      <a:pt x="688" y="884"/>
                    </a:lnTo>
                    <a:lnTo>
                      <a:pt x="688" y="884"/>
                    </a:lnTo>
                    <a:lnTo>
                      <a:pt x="688" y="884"/>
                    </a:lnTo>
                    <a:lnTo>
                      <a:pt x="688" y="886"/>
                    </a:lnTo>
                    <a:lnTo>
                      <a:pt x="688" y="888"/>
                    </a:lnTo>
                    <a:lnTo>
                      <a:pt x="686" y="890"/>
                    </a:lnTo>
                    <a:lnTo>
                      <a:pt x="686" y="890"/>
                    </a:lnTo>
                    <a:lnTo>
                      <a:pt x="682" y="900"/>
                    </a:lnTo>
                    <a:lnTo>
                      <a:pt x="682" y="900"/>
                    </a:lnTo>
                    <a:lnTo>
                      <a:pt x="678" y="914"/>
                    </a:lnTo>
                    <a:lnTo>
                      <a:pt x="678" y="929"/>
                    </a:lnTo>
                    <a:lnTo>
                      <a:pt x="678" y="929"/>
                    </a:lnTo>
                    <a:lnTo>
                      <a:pt x="680" y="955"/>
                    </a:lnTo>
                    <a:lnTo>
                      <a:pt x="680" y="955"/>
                    </a:lnTo>
                    <a:lnTo>
                      <a:pt x="680" y="977"/>
                    </a:lnTo>
                    <a:lnTo>
                      <a:pt x="680" y="999"/>
                    </a:lnTo>
                    <a:lnTo>
                      <a:pt x="678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2" y="1005"/>
                    </a:lnTo>
                    <a:lnTo>
                      <a:pt x="670" y="1009"/>
                    </a:lnTo>
                    <a:lnTo>
                      <a:pt x="668" y="1013"/>
                    </a:lnTo>
                    <a:lnTo>
                      <a:pt x="668" y="1013"/>
                    </a:lnTo>
                    <a:lnTo>
                      <a:pt x="666" y="1015"/>
                    </a:lnTo>
                    <a:lnTo>
                      <a:pt x="666" y="1015"/>
                    </a:lnTo>
                    <a:lnTo>
                      <a:pt x="664" y="1025"/>
                    </a:lnTo>
                    <a:lnTo>
                      <a:pt x="662" y="1035"/>
                    </a:lnTo>
                    <a:lnTo>
                      <a:pt x="662" y="1035"/>
                    </a:lnTo>
                    <a:lnTo>
                      <a:pt x="662" y="1055"/>
                    </a:lnTo>
                    <a:lnTo>
                      <a:pt x="662" y="1055"/>
                    </a:lnTo>
                    <a:lnTo>
                      <a:pt x="664" y="1063"/>
                    </a:lnTo>
                    <a:lnTo>
                      <a:pt x="664" y="1063"/>
                    </a:lnTo>
                    <a:lnTo>
                      <a:pt x="664" y="1076"/>
                    </a:lnTo>
                    <a:lnTo>
                      <a:pt x="664" y="1076"/>
                    </a:lnTo>
                    <a:lnTo>
                      <a:pt x="662" y="1082"/>
                    </a:lnTo>
                    <a:lnTo>
                      <a:pt x="658" y="1086"/>
                    </a:lnTo>
                    <a:lnTo>
                      <a:pt x="658" y="1086"/>
                    </a:lnTo>
                    <a:lnTo>
                      <a:pt x="652" y="1090"/>
                    </a:lnTo>
                    <a:lnTo>
                      <a:pt x="652" y="1090"/>
                    </a:lnTo>
                    <a:lnTo>
                      <a:pt x="640" y="1098"/>
                    </a:lnTo>
                    <a:lnTo>
                      <a:pt x="632" y="1108"/>
                    </a:lnTo>
                    <a:lnTo>
                      <a:pt x="632" y="1108"/>
                    </a:lnTo>
                    <a:lnTo>
                      <a:pt x="622" y="1120"/>
                    </a:lnTo>
                    <a:lnTo>
                      <a:pt x="622" y="1120"/>
                    </a:lnTo>
                    <a:lnTo>
                      <a:pt x="622" y="1126"/>
                    </a:lnTo>
                    <a:lnTo>
                      <a:pt x="622" y="1126"/>
                    </a:lnTo>
                    <a:lnTo>
                      <a:pt x="622" y="1130"/>
                    </a:lnTo>
                    <a:lnTo>
                      <a:pt x="622" y="1130"/>
                    </a:lnTo>
                    <a:lnTo>
                      <a:pt x="622" y="1138"/>
                    </a:lnTo>
                    <a:lnTo>
                      <a:pt x="618" y="1146"/>
                    </a:lnTo>
                    <a:lnTo>
                      <a:pt x="618" y="1146"/>
                    </a:lnTo>
                    <a:lnTo>
                      <a:pt x="614" y="1148"/>
                    </a:lnTo>
                    <a:lnTo>
                      <a:pt x="610" y="1150"/>
                    </a:lnTo>
                    <a:lnTo>
                      <a:pt x="610" y="1150"/>
                    </a:lnTo>
                    <a:lnTo>
                      <a:pt x="606" y="1152"/>
                    </a:lnTo>
                    <a:lnTo>
                      <a:pt x="606" y="1152"/>
                    </a:lnTo>
                    <a:lnTo>
                      <a:pt x="602" y="1154"/>
                    </a:lnTo>
                    <a:lnTo>
                      <a:pt x="600" y="1158"/>
                    </a:lnTo>
                    <a:lnTo>
                      <a:pt x="600" y="1158"/>
                    </a:lnTo>
                    <a:lnTo>
                      <a:pt x="598" y="1162"/>
                    </a:lnTo>
                    <a:lnTo>
                      <a:pt x="598" y="1166"/>
                    </a:lnTo>
                    <a:lnTo>
                      <a:pt x="598" y="1174"/>
                    </a:lnTo>
                    <a:lnTo>
                      <a:pt x="592" y="1174"/>
                    </a:lnTo>
                    <a:lnTo>
                      <a:pt x="592" y="1174"/>
                    </a:lnTo>
                    <a:lnTo>
                      <a:pt x="590" y="1174"/>
                    </a:lnTo>
                    <a:lnTo>
                      <a:pt x="590" y="1174"/>
                    </a:lnTo>
                    <a:lnTo>
                      <a:pt x="590" y="1178"/>
                    </a:lnTo>
                    <a:lnTo>
                      <a:pt x="590" y="1182"/>
                    </a:lnTo>
                    <a:lnTo>
                      <a:pt x="590" y="1188"/>
                    </a:lnTo>
                    <a:lnTo>
                      <a:pt x="590" y="1188"/>
                    </a:lnTo>
                    <a:lnTo>
                      <a:pt x="590" y="1198"/>
                    </a:lnTo>
                    <a:lnTo>
                      <a:pt x="590" y="1210"/>
                    </a:lnTo>
                    <a:lnTo>
                      <a:pt x="590" y="1210"/>
                    </a:lnTo>
                    <a:lnTo>
                      <a:pt x="588" y="1217"/>
                    </a:lnTo>
                    <a:lnTo>
                      <a:pt x="584" y="1223"/>
                    </a:lnTo>
                    <a:lnTo>
                      <a:pt x="580" y="1225"/>
                    </a:lnTo>
                    <a:lnTo>
                      <a:pt x="576" y="1227"/>
                    </a:lnTo>
                    <a:lnTo>
                      <a:pt x="576" y="1227"/>
                    </a:lnTo>
                    <a:lnTo>
                      <a:pt x="570" y="1229"/>
                    </a:lnTo>
                    <a:lnTo>
                      <a:pt x="568" y="1229"/>
                    </a:lnTo>
                    <a:lnTo>
                      <a:pt x="568" y="1229"/>
                    </a:lnTo>
                    <a:lnTo>
                      <a:pt x="566" y="1229"/>
                    </a:lnTo>
                    <a:lnTo>
                      <a:pt x="566" y="1229"/>
                    </a:lnTo>
                    <a:lnTo>
                      <a:pt x="566" y="1233"/>
                    </a:lnTo>
                    <a:lnTo>
                      <a:pt x="566" y="1239"/>
                    </a:lnTo>
                    <a:lnTo>
                      <a:pt x="560" y="1237"/>
                    </a:lnTo>
                    <a:lnTo>
                      <a:pt x="560" y="1237"/>
                    </a:lnTo>
                    <a:lnTo>
                      <a:pt x="558" y="1237"/>
                    </a:lnTo>
                    <a:lnTo>
                      <a:pt x="558" y="1237"/>
                    </a:lnTo>
                    <a:lnTo>
                      <a:pt x="558" y="1237"/>
                    </a:lnTo>
                    <a:lnTo>
                      <a:pt x="558" y="1237"/>
                    </a:lnTo>
                    <a:lnTo>
                      <a:pt x="558" y="1237"/>
                    </a:lnTo>
                    <a:lnTo>
                      <a:pt x="558" y="1237"/>
                    </a:lnTo>
                    <a:lnTo>
                      <a:pt x="558" y="1239"/>
                    </a:lnTo>
                    <a:lnTo>
                      <a:pt x="558" y="1239"/>
                    </a:lnTo>
                    <a:lnTo>
                      <a:pt x="556" y="1243"/>
                    </a:lnTo>
                    <a:lnTo>
                      <a:pt x="552" y="1245"/>
                    </a:lnTo>
                    <a:lnTo>
                      <a:pt x="552" y="1245"/>
                    </a:lnTo>
                    <a:lnTo>
                      <a:pt x="552" y="1247"/>
                    </a:lnTo>
                    <a:lnTo>
                      <a:pt x="552" y="1247"/>
                    </a:lnTo>
                    <a:lnTo>
                      <a:pt x="550" y="1251"/>
                    </a:lnTo>
                    <a:lnTo>
                      <a:pt x="550" y="1257"/>
                    </a:lnTo>
                    <a:lnTo>
                      <a:pt x="550" y="1257"/>
                    </a:lnTo>
                    <a:lnTo>
                      <a:pt x="552" y="1259"/>
                    </a:lnTo>
                    <a:lnTo>
                      <a:pt x="552" y="1259"/>
                    </a:lnTo>
                    <a:lnTo>
                      <a:pt x="556" y="1261"/>
                    </a:lnTo>
                    <a:lnTo>
                      <a:pt x="558" y="1267"/>
                    </a:lnTo>
                    <a:lnTo>
                      <a:pt x="558" y="1275"/>
                    </a:lnTo>
                    <a:lnTo>
                      <a:pt x="558" y="1275"/>
                    </a:lnTo>
                    <a:lnTo>
                      <a:pt x="558" y="1281"/>
                    </a:lnTo>
                    <a:lnTo>
                      <a:pt x="558" y="1281"/>
                    </a:lnTo>
                    <a:lnTo>
                      <a:pt x="558" y="1293"/>
                    </a:lnTo>
                    <a:lnTo>
                      <a:pt x="558" y="1293"/>
                    </a:lnTo>
                    <a:lnTo>
                      <a:pt x="556" y="1297"/>
                    </a:lnTo>
                    <a:lnTo>
                      <a:pt x="552" y="1301"/>
                    </a:lnTo>
                    <a:lnTo>
                      <a:pt x="548" y="1301"/>
                    </a:lnTo>
                    <a:lnTo>
                      <a:pt x="548" y="1301"/>
                    </a:lnTo>
                    <a:lnTo>
                      <a:pt x="540" y="1303"/>
                    </a:lnTo>
                    <a:lnTo>
                      <a:pt x="540" y="1303"/>
                    </a:lnTo>
                    <a:lnTo>
                      <a:pt x="533" y="1303"/>
                    </a:lnTo>
                    <a:lnTo>
                      <a:pt x="533" y="1303"/>
                    </a:lnTo>
                    <a:lnTo>
                      <a:pt x="527" y="1301"/>
                    </a:lnTo>
                    <a:lnTo>
                      <a:pt x="527" y="1301"/>
                    </a:lnTo>
                    <a:lnTo>
                      <a:pt x="523" y="1301"/>
                    </a:lnTo>
                    <a:lnTo>
                      <a:pt x="523" y="1301"/>
                    </a:lnTo>
                    <a:lnTo>
                      <a:pt x="513" y="1303"/>
                    </a:lnTo>
                    <a:lnTo>
                      <a:pt x="505" y="1307"/>
                    </a:lnTo>
                    <a:lnTo>
                      <a:pt x="505" y="1307"/>
                    </a:lnTo>
                    <a:lnTo>
                      <a:pt x="499" y="1311"/>
                    </a:lnTo>
                    <a:lnTo>
                      <a:pt x="495" y="1319"/>
                    </a:lnTo>
                    <a:lnTo>
                      <a:pt x="495" y="1327"/>
                    </a:lnTo>
                    <a:lnTo>
                      <a:pt x="493" y="1337"/>
                    </a:lnTo>
                    <a:lnTo>
                      <a:pt x="493" y="1341"/>
                    </a:lnTo>
                    <a:lnTo>
                      <a:pt x="491" y="1343"/>
                    </a:lnTo>
                    <a:lnTo>
                      <a:pt x="491" y="1343"/>
                    </a:lnTo>
                    <a:lnTo>
                      <a:pt x="483" y="1347"/>
                    </a:lnTo>
                    <a:lnTo>
                      <a:pt x="479" y="1351"/>
                    </a:lnTo>
                    <a:lnTo>
                      <a:pt x="479" y="1351"/>
                    </a:lnTo>
                    <a:lnTo>
                      <a:pt x="477" y="1353"/>
                    </a:lnTo>
                    <a:lnTo>
                      <a:pt x="477" y="1353"/>
                    </a:lnTo>
                    <a:lnTo>
                      <a:pt x="475" y="1357"/>
                    </a:lnTo>
                    <a:lnTo>
                      <a:pt x="471" y="1359"/>
                    </a:lnTo>
                    <a:lnTo>
                      <a:pt x="471" y="1359"/>
                    </a:lnTo>
                    <a:lnTo>
                      <a:pt x="469" y="1359"/>
                    </a:lnTo>
                    <a:lnTo>
                      <a:pt x="469" y="1359"/>
                    </a:lnTo>
                    <a:lnTo>
                      <a:pt x="469" y="1359"/>
                    </a:lnTo>
                    <a:lnTo>
                      <a:pt x="457" y="1359"/>
                    </a:lnTo>
                    <a:lnTo>
                      <a:pt x="457" y="1359"/>
                    </a:lnTo>
                    <a:lnTo>
                      <a:pt x="451" y="1363"/>
                    </a:lnTo>
                    <a:lnTo>
                      <a:pt x="445" y="1365"/>
                    </a:lnTo>
                    <a:lnTo>
                      <a:pt x="431" y="1365"/>
                    </a:lnTo>
                    <a:lnTo>
                      <a:pt x="431" y="1365"/>
                    </a:lnTo>
                    <a:lnTo>
                      <a:pt x="423" y="1365"/>
                    </a:lnTo>
                    <a:lnTo>
                      <a:pt x="423" y="1365"/>
                    </a:lnTo>
                    <a:lnTo>
                      <a:pt x="411" y="1367"/>
                    </a:lnTo>
                    <a:lnTo>
                      <a:pt x="401" y="1368"/>
                    </a:lnTo>
                    <a:lnTo>
                      <a:pt x="401" y="1368"/>
                    </a:lnTo>
                    <a:lnTo>
                      <a:pt x="399" y="1370"/>
                    </a:lnTo>
                    <a:lnTo>
                      <a:pt x="399" y="1370"/>
                    </a:lnTo>
                    <a:lnTo>
                      <a:pt x="395" y="1372"/>
                    </a:lnTo>
                    <a:lnTo>
                      <a:pt x="389" y="1374"/>
                    </a:lnTo>
                    <a:lnTo>
                      <a:pt x="389" y="1374"/>
                    </a:lnTo>
                    <a:close/>
                    <a:moveTo>
                      <a:pt x="292" y="220"/>
                    </a:moveTo>
                    <a:lnTo>
                      <a:pt x="292" y="220"/>
                    </a:lnTo>
                    <a:lnTo>
                      <a:pt x="294" y="220"/>
                    </a:lnTo>
                    <a:lnTo>
                      <a:pt x="298" y="220"/>
                    </a:lnTo>
                    <a:lnTo>
                      <a:pt x="298" y="220"/>
                    </a:lnTo>
                    <a:lnTo>
                      <a:pt x="298" y="218"/>
                    </a:lnTo>
                    <a:lnTo>
                      <a:pt x="296" y="218"/>
                    </a:lnTo>
                    <a:lnTo>
                      <a:pt x="296" y="218"/>
                    </a:lnTo>
                    <a:lnTo>
                      <a:pt x="294" y="212"/>
                    </a:lnTo>
                    <a:lnTo>
                      <a:pt x="294" y="212"/>
                    </a:lnTo>
                    <a:lnTo>
                      <a:pt x="290" y="210"/>
                    </a:lnTo>
                    <a:lnTo>
                      <a:pt x="286" y="208"/>
                    </a:lnTo>
                    <a:lnTo>
                      <a:pt x="286" y="208"/>
                    </a:lnTo>
                    <a:lnTo>
                      <a:pt x="280" y="204"/>
                    </a:lnTo>
                    <a:lnTo>
                      <a:pt x="280" y="204"/>
                    </a:lnTo>
                    <a:lnTo>
                      <a:pt x="276" y="202"/>
                    </a:lnTo>
                    <a:lnTo>
                      <a:pt x="276" y="202"/>
                    </a:lnTo>
                    <a:lnTo>
                      <a:pt x="274" y="200"/>
                    </a:lnTo>
                    <a:lnTo>
                      <a:pt x="270" y="198"/>
                    </a:lnTo>
                    <a:lnTo>
                      <a:pt x="264" y="198"/>
                    </a:lnTo>
                    <a:lnTo>
                      <a:pt x="266" y="192"/>
                    </a:lnTo>
                    <a:lnTo>
                      <a:pt x="266" y="192"/>
                    </a:lnTo>
                    <a:lnTo>
                      <a:pt x="266" y="192"/>
                    </a:lnTo>
                    <a:lnTo>
                      <a:pt x="266" y="192"/>
                    </a:lnTo>
                    <a:lnTo>
                      <a:pt x="264" y="190"/>
                    </a:lnTo>
                    <a:lnTo>
                      <a:pt x="260" y="190"/>
                    </a:lnTo>
                    <a:lnTo>
                      <a:pt x="260" y="190"/>
                    </a:lnTo>
                    <a:lnTo>
                      <a:pt x="258" y="190"/>
                    </a:lnTo>
                    <a:lnTo>
                      <a:pt x="258" y="190"/>
                    </a:lnTo>
                    <a:lnTo>
                      <a:pt x="260" y="192"/>
                    </a:lnTo>
                    <a:lnTo>
                      <a:pt x="260" y="192"/>
                    </a:lnTo>
                    <a:lnTo>
                      <a:pt x="264" y="200"/>
                    </a:lnTo>
                    <a:lnTo>
                      <a:pt x="268" y="202"/>
                    </a:lnTo>
                    <a:lnTo>
                      <a:pt x="272" y="204"/>
                    </a:lnTo>
                    <a:lnTo>
                      <a:pt x="276" y="206"/>
                    </a:lnTo>
                    <a:lnTo>
                      <a:pt x="276" y="210"/>
                    </a:lnTo>
                    <a:lnTo>
                      <a:pt x="276" y="210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76" y="212"/>
                    </a:lnTo>
                    <a:lnTo>
                      <a:pt x="282" y="212"/>
                    </a:lnTo>
                    <a:lnTo>
                      <a:pt x="282" y="212"/>
                    </a:lnTo>
                    <a:lnTo>
                      <a:pt x="284" y="212"/>
                    </a:lnTo>
                    <a:lnTo>
                      <a:pt x="284" y="212"/>
                    </a:lnTo>
                    <a:lnTo>
                      <a:pt x="286" y="212"/>
                    </a:lnTo>
                    <a:lnTo>
                      <a:pt x="294" y="212"/>
                    </a:lnTo>
                    <a:lnTo>
                      <a:pt x="292" y="218"/>
                    </a:lnTo>
                    <a:lnTo>
                      <a:pt x="292" y="218"/>
                    </a:lnTo>
                    <a:lnTo>
                      <a:pt x="292" y="220"/>
                    </a:lnTo>
                    <a:lnTo>
                      <a:pt x="292" y="22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 dirty="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8" name="Freeform 5631">
                <a:extLst>
                  <a:ext uri="{FF2B5EF4-FFF2-40B4-BE49-F238E27FC236}">
                    <a16:creationId xmlns:a16="http://schemas.microsoft.com/office/drawing/2014/main" id="{4FC9B8E9-AAA7-D3DB-4CA9-EDC4422D128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3803617" y="2982247"/>
                <a:ext cx="829141" cy="1734652"/>
              </a:xfrm>
              <a:custGeom>
                <a:avLst/>
                <a:gdLst>
                  <a:gd name="T0" fmla="*/ 428 w 762"/>
                  <a:gd name="T1" fmla="*/ 1571 h 1589"/>
                  <a:gd name="T2" fmla="*/ 392 w 762"/>
                  <a:gd name="T3" fmla="*/ 1522 h 1589"/>
                  <a:gd name="T4" fmla="*/ 348 w 762"/>
                  <a:gd name="T5" fmla="*/ 1468 h 1589"/>
                  <a:gd name="T6" fmla="*/ 314 w 762"/>
                  <a:gd name="T7" fmla="*/ 1382 h 1589"/>
                  <a:gd name="T8" fmla="*/ 297 w 762"/>
                  <a:gd name="T9" fmla="*/ 1235 h 1589"/>
                  <a:gd name="T10" fmla="*/ 275 w 762"/>
                  <a:gd name="T11" fmla="*/ 1198 h 1589"/>
                  <a:gd name="T12" fmla="*/ 253 w 762"/>
                  <a:gd name="T13" fmla="*/ 1146 h 1589"/>
                  <a:gd name="T14" fmla="*/ 195 w 762"/>
                  <a:gd name="T15" fmla="*/ 1102 h 1589"/>
                  <a:gd name="T16" fmla="*/ 169 w 762"/>
                  <a:gd name="T17" fmla="*/ 1027 h 1589"/>
                  <a:gd name="T18" fmla="*/ 151 w 762"/>
                  <a:gd name="T19" fmla="*/ 991 h 1589"/>
                  <a:gd name="T20" fmla="*/ 128 w 762"/>
                  <a:gd name="T21" fmla="*/ 884 h 1589"/>
                  <a:gd name="T22" fmla="*/ 144 w 762"/>
                  <a:gd name="T23" fmla="*/ 820 h 1589"/>
                  <a:gd name="T24" fmla="*/ 138 w 762"/>
                  <a:gd name="T25" fmla="*/ 725 h 1589"/>
                  <a:gd name="T26" fmla="*/ 96 w 762"/>
                  <a:gd name="T27" fmla="*/ 681 h 1589"/>
                  <a:gd name="T28" fmla="*/ 66 w 762"/>
                  <a:gd name="T29" fmla="*/ 637 h 1589"/>
                  <a:gd name="T30" fmla="*/ 14 w 762"/>
                  <a:gd name="T31" fmla="*/ 602 h 1589"/>
                  <a:gd name="T32" fmla="*/ 18 w 762"/>
                  <a:gd name="T33" fmla="*/ 447 h 1589"/>
                  <a:gd name="T34" fmla="*/ 314 w 762"/>
                  <a:gd name="T35" fmla="*/ 91 h 1589"/>
                  <a:gd name="T36" fmla="*/ 479 w 762"/>
                  <a:gd name="T37" fmla="*/ 41 h 1589"/>
                  <a:gd name="T38" fmla="*/ 422 w 762"/>
                  <a:gd name="T39" fmla="*/ 73 h 1589"/>
                  <a:gd name="T40" fmla="*/ 406 w 762"/>
                  <a:gd name="T41" fmla="*/ 127 h 1589"/>
                  <a:gd name="T42" fmla="*/ 452 w 762"/>
                  <a:gd name="T43" fmla="*/ 95 h 1589"/>
                  <a:gd name="T44" fmla="*/ 545 w 762"/>
                  <a:gd name="T45" fmla="*/ 47 h 1589"/>
                  <a:gd name="T46" fmla="*/ 577 w 762"/>
                  <a:gd name="T47" fmla="*/ 95 h 1589"/>
                  <a:gd name="T48" fmla="*/ 543 w 762"/>
                  <a:gd name="T49" fmla="*/ 133 h 1589"/>
                  <a:gd name="T50" fmla="*/ 440 w 762"/>
                  <a:gd name="T51" fmla="*/ 163 h 1589"/>
                  <a:gd name="T52" fmla="*/ 460 w 762"/>
                  <a:gd name="T53" fmla="*/ 192 h 1589"/>
                  <a:gd name="T54" fmla="*/ 408 w 762"/>
                  <a:gd name="T55" fmla="*/ 210 h 1589"/>
                  <a:gd name="T56" fmla="*/ 378 w 762"/>
                  <a:gd name="T57" fmla="*/ 258 h 1589"/>
                  <a:gd name="T58" fmla="*/ 316 w 762"/>
                  <a:gd name="T59" fmla="*/ 312 h 1589"/>
                  <a:gd name="T60" fmla="*/ 245 w 762"/>
                  <a:gd name="T61" fmla="*/ 355 h 1589"/>
                  <a:gd name="T62" fmla="*/ 223 w 762"/>
                  <a:gd name="T63" fmla="*/ 387 h 1589"/>
                  <a:gd name="T64" fmla="*/ 185 w 762"/>
                  <a:gd name="T65" fmla="*/ 463 h 1589"/>
                  <a:gd name="T66" fmla="*/ 161 w 762"/>
                  <a:gd name="T67" fmla="*/ 399 h 1589"/>
                  <a:gd name="T68" fmla="*/ 92 w 762"/>
                  <a:gd name="T69" fmla="*/ 439 h 1589"/>
                  <a:gd name="T70" fmla="*/ 68 w 762"/>
                  <a:gd name="T71" fmla="*/ 502 h 1589"/>
                  <a:gd name="T72" fmla="*/ 44 w 762"/>
                  <a:gd name="T73" fmla="*/ 538 h 1589"/>
                  <a:gd name="T74" fmla="*/ 88 w 762"/>
                  <a:gd name="T75" fmla="*/ 530 h 1589"/>
                  <a:gd name="T76" fmla="*/ 104 w 762"/>
                  <a:gd name="T77" fmla="*/ 558 h 1589"/>
                  <a:gd name="T78" fmla="*/ 110 w 762"/>
                  <a:gd name="T79" fmla="*/ 596 h 1589"/>
                  <a:gd name="T80" fmla="*/ 108 w 762"/>
                  <a:gd name="T81" fmla="*/ 659 h 1589"/>
                  <a:gd name="T82" fmla="*/ 144 w 762"/>
                  <a:gd name="T83" fmla="*/ 687 h 1589"/>
                  <a:gd name="T84" fmla="*/ 185 w 762"/>
                  <a:gd name="T85" fmla="*/ 697 h 1589"/>
                  <a:gd name="T86" fmla="*/ 223 w 762"/>
                  <a:gd name="T87" fmla="*/ 659 h 1589"/>
                  <a:gd name="T88" fmla="*/ 326 w 762"/>
                  <a:gd name="T89" fmla="*/ 685 h 1589"/>
                  <a:gd name="T90" fmla="*/ 372 w 762"/>
                  <a:gd name="T91" fmla="*/ 707 h 1589"/>
                  <a:gd name="T92" fmla="*/ 438 w 762"/>
                  <a:gd name="T93" fmla="*/ 745 h 1589"/>
                  <a:gd name="T94" fmla="*/ 501 w 762"/>
                  <a:gd name="T95" fmla="*/ 792 h 1589"/>
                  <a:gd name="T96" fmla="*/ 535 w 762"/>
                  <a:gd name="T97" fmla="*/ 848 h 1589"/>
                  <a:gd name="T98" fmla="*/ 567 w 762"/>
                  <a:gd name="T99" fmla="*/ 860 h 1589"/>
                  <a:gd name="T100" fmla="*/ 618 w 762"/>
                  <a:gd name="T101" fmla="*/ 886 h 1589"/>
                  <a:gd name="T102" fmla="*/ 690 w 762"/>
                  <a:gd name="T103" fmla="*/ 902 h 1589"/>
                  <a:gd name="T104" fmla="*/ 756 w 762"/>
                  <a:gd name="T105" fmla="*/ 933 h 1589"/>
                  <a:gd name="T106" fmla="*/ 728 w 762"/>
                  <a:gd name="T107" fmla="*/ 1029 h 1589"/>
                  <a:gd name="T108" fmla="*/ 688 w 762"/>
                  <a:gd name="T109" fmla="*/ 1057 h 1589"/>
                  <a:gd name="T110" fmla="*/ 662 w 762"/>
                  <a:gd name="T111" fmla="*/ 1192 h 1589"/>
                  <a:gd name="T112" fmla="*/ 622 w 762"/>
                  <a:gd name="T113" fmla="*/ 1223 h 1589"/>
                  <a:gd name="T114" fmla="*/ 549 w 762"/>
                  <a:gd name="T115" fmla="*/ 1325 h 1589"/>
                  <a:gd name="T116" fmla="*/ 479 w 762"/>
                  <a:gd name="T117" fmla="*/ 1382 h 1589"/>
                  <a:gd name="T118" fmla="*/ 471 w 762"/>
                  <a:gd name="T119" fmla="*/ 1434 h 1589"/>
                  <a:gd name="T120" fmla="*/ 448 w 762"/>
                  <a:gd name="T121" fmla="*/ 1472 h 1589"/>
                  <a:gd name="T122" fmla="*/ 475 w 762"/>
                  <a:gd name="T123" fmla="*/ 1543 h 1589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  <a:cxn ang="0">
                    <a:pos x="T122" y="T123"/>
                  </a:cxn>
                </a:cxnLst>
                <a:rect l="0" t="0" r="r" b="b"/>
                <a:pathLst>
                  <a:path w="762" h="1589">
                    <a:moveTo>
                      <a:pt x="465" y="1589"/>
                    </a:moveTo>
                    <a:lnTo>
                      <a:pt x="465" y="1589"/>
                    </a:lnTo>
                    <a:lnTo>
                      <a:pt x="458" y="1589"/>
                    </a:lnTo>
                    <a:lnTo>
                      <a:pt x="458" y="1589"/>
                    </a:lnTo>
                    <a:lnTo>
                      <a:pt x="458" y="1589"/>
                    </a:lnTo>
                    <a:lnTo>
                      <a:pt x="452" y="1587"/>
                    </a:lnTo>
                    <a:lnTo>
                      <a:pt x="452" y="1581"/>
                    </a:lnTo>
                    <a:lnTo>
                      <a:pt x="452" y="1581"/>
                    </a:lnTo>
                    <a:lnTo>
                      <a:pt x="452" y="1581"/>
                    </a:lnTo>
                    <a:lnTo>
                      <a:pt x="452" y="1581"/>
                    </a:lnTo>
                    <a:lnTo>
                      <a:pt x="452" y="1581"/>
                    </a:lnTo>
                    <a:lnTo>
                      <a:pt x="452" y="1581"/>
                    </a:lnTo>
                    <a:lnTo>
                      <a:pt x="446" y="1579"/>
                    </a:lnTo>
                    <a:lnTo>
                      <a:pt x="446" y="1579"/>
                    </a:lnTo>
                    <a:lnTo>
                      <a:pt x="444" y="1579"/>
                    </a:lnTo>
                    <a:lnTo>
                      <a:pt x="444" y="1579"/>
                    </a:lnTo>
                    <a:lnTo>
                      <a:pt x="442" y="1579"/>
                    </a:lnTo>
                    <a:lnTo>
                      <a:pt x="434" y="1579"/>
                    </a:lnTo>
                    <a:lnTo>
                      <a:pt x="436" y="1573"/>
                    </a:lnTo>
                    <a:lnTo>
                      <a:pt x="436" y="1573"/>
                    </a:lnTo>
                    <a:lnTo>
                      <a:pt x="436" y="1573"/>
                    </a:lnTo>
                    <a:lnTo>
                      <a:pt x="436" y="1573"/>
                    </a:lnTo>
                    <a:lnTo>
                      <a:pt x="436" y="1573"/>
                    </a:lnTo>
                    <a:lnTo>
                      <a:pt x="436" y="1573"/>
                    </a:lnTo>
                    <a:lnTo>
                      <a:pt x="434" y="1573"/>
                    </a:lnTo>
                    <a:lnTo>
                      <a:pt x="434" y="1571"/>
                    </a:lnTo>
                    <a:lnTo>
                      <a:pt x="434" y="1571"/>
                    </a:lnTo>
                    <a:lnTo>
                      <a:pt x="428" y="1571"/>
                    </a:lnTo>
                    <a:lnTo>
                      <a:pt x="420" y="1567"/>
                    </a:lnTo>
                    <a:lnTo>
                      <a:pt x="420" y="1567"/>
                    </a:lnTo>
                    <a:lnTo>
                      <a:pt x="418" y="1565"/>
                    </a:lnTo>
                    <a:lnTo>
                      <a:pt x="418" y="1565"/>
                    </a:lnTo>
                    <a:lnTo>
                      <a:pt x="414" y="1561"/>
                    </a:lnTo>
                    <a:lnTo>
                      <a:pt x="412" y="1557"/>
                    </a:lnTo>
                    <a:lnTo>
                      <a:pt x="412" y="1557"/>
                    </a:lnTo>
                    <a:lnTo>
                      <a:pt x="410" y="1557"/>
                    </a:lnTo>
                    <a:lnTo>
                      <a:pt x="410" y="1557"/>
                    </a:lnTo>
                    <a:lnTo>
                      <a:pt x="408" y="1553"/>
                    </a:lnTo>
                    <a:lnTo>
                      <a:pt x="404" y="1551"/>
                    </a:lnTo>
                    <a:lnTo>
                      <a:pt x="404" y="1551"/>
                    </a:lnTo>
                    <a:lnTo>
                      <a:pt x="400" y="1547"/>
                    </a:lnTo>
                    <a:lnTo>
                      <a:pt x="400" y="1547"/>
                    </a:lnTo>
                    <a:lnTo>
                      <a:pt x="396" y="1545"/>
                    </a:lnTo>
                    <a:lnTo>
                      <a:pt x="396" y="1543"/>
                    </a:lnTo>
                    <a:lnTo>
                      <a:pt x="396" y="1539"/>
                    </a:lnTo>
                    <a:lnTo>
                      <a:pt x="396" y="1539"/>
                    </a:lnTo>
                    <a:lnTo>
                      <a:pt x="396" y="1539"/>
                    </a:lnTo>
                    <a:lnTo>
                      <a:pt x="396" y="1539"/>
                    </a:lnTo>
                    <a:lnTo>
                      <a:pt x="396" y="1537"/>
                    </a:lnTo>
                    <a:lnTo>
                      <a:pt x="396" y="1537"/>
                    </a:lnTo>
                    <a:lnTo>
                      <a:pt x="396" y="1533"/>
                    </a:lnTo>
                    <a:lnTo>
                      <a:pt x="396" y="1531"/>
                    </a:lnTo>
                    <a:lnTo>
                      <a:pt x="396" y="1531"/>
                    </a:lnTo>
                    <a:lnTo>
                      <a:pt x="396" y="1527"/>
                    </a:lnTo>
                    <a:lnTo>
                      <a:pt x="396" y="1527"/>
                    </a:lnTo>
                    <a:lnTo>
                      <a:pt x="392" y="1522"/>
                    </a:lnTo>
                    <a:lnTo>
                      <a:pt x="386" y="1516"/>
                    </a:lnTo>
                    <a:lnTo>
                      <a:pt x="386" y="1516"/>
                    </a:lnTo>
                    <a:lnTo>
                      <a:pt x="378" y="1510"/>
                    </a:lnTo>
                    <a:lnTo>
                      <a:pt x="378" y="1510"/>
                    </a:lnTo>
                    <a:lnTo>
                      <a:pt x="376" y="1506"/>
                    </a:lnTo>
                    <a:lnTo>
                      <a:pt x="374" y="1502"/>
                    </a:lnTo>
                    <a:lnTo>
                      <a:pt x="372" y="1492"/>
                    </a:lnTo>
                    <a:lnTo>
                      <a:pt x="372" y="1492"/>
                    </a:lnTo>
                    <a:lnTo>
                      <a:pt x="370" y="1492"/>
                    </a:lnTo>
                    <a:lnTo>
                      <a:pt x="370" y="1492"/>
                    </a:lnTo>
                    <a:lnTo>
                      <a:pt x="370" y="1492"/>
                    </a:lnTo>
                    <a:lnTo>
                      <a:pt x="370" y="1492"/>
                    </a:lnTo>
                    <a:lnTo>
                      <a:pt x="366" y="1490"/>
                    </a:lnTo>
                    <a:lnTo>
                      <a:pt x="364" y="1488"/>
                    </a:lnTo>
                    <a:lnTo>
                      <a:pt x="362" y="1484"/>
                    </a:lnTo>
                    <a:lnTo>
                      <a:pt x="362" y="1484"/>
                    </a:lnTo>
                    <a:lnTo>
                      <a:pt x="360" y="1480"/>
                    </a:lnTo>
                    <a:lnTo>
                      <a:pt x="360" y="1480"/>
                    </a:lnTo>
                    <a:lnTo>
                      <a:pt x="358" y="1476"/>
                    </a:lnTo>
                    <a:lnTo>
                      <a:pt x="356" y="1472"/>
                    </a:lnTo>
                    <a:lnTo>
                      <a:pt x="354" y="1470"/>
                    </a:lnTo>
                    <a:lnTo>
                      <a:pt x="356" y="1470"/>
                    </a:lnTo>
                    <a:lnTo>
                      <a:pt x="356" y="1470"/>
                    </a:lnTo>
                    <a:lnTo>
                      <a:pt x="356" y="1468"/>
                    </a:lnTo>
                    <a:lnTo>
                      <a:pt x="356" y="1468"/>
                    </a:lnTo>
                    <a:lnTo>
                      <a:pt x="356" y="1468"/>
                    </a:lnTo>
                    <a:lnTo>
                      <a:pt x="352" y="1468"/>
                    </a:lnTo>
                    <a:lnTo>
                      <a:pt x="348" y="1468"/>
                    </a:lnTo>
                    <a:lnTo>
                      <a:pt x="346" y="1462"/>
                    </a:lnTo>
                    <a:lnTo>
                      <a:pt x="346" y="1462"/>
                    </a:lnTo>
                    <a:lnTo>
                      <a:pt x="346" y="1460"/>
                    </a:lnTo>
                    <a:lnTo>
                      <a:pt x="344" y="1456"/>
                    </a:lnTo>
                    <a:lnTo>
                      <a:pt x="336" y="1450"/>
                    </a:lnTo>
                    <a:lnTo>
                      <a:pt x="334" y="1448"/>
                    </a:lnTo>
                    <a:lnTo>
                      <a:pt x="334" y="1448"/>
                    </a:lnTo>
                    <a:lnTo>
                      <a:pt x="328" y="1444"/>
                    </a:lnTo>
                    <a:lnTo>
                      <a:pt x="324" y="1438"/>
                    </a:lnTo>
                    <a:lnTo>
                      <a:pt x="322" y="1430"/>
                    </a:lnTo>
                    <a:lnTo>
                      <a:pt x="322" y="1422"/>
                    </a:lnTo>
                    <a:lnTo>
                      <a:pt x="322" y="1422"/>
                    </a:lnTo>
                    <a:lnTo>
                      <a:pt x="322" y="1418"/>
                    </a:lnTo>
                    <a:lnTo>
                      <a:pt x="322" y="1418"/>
                    </a:lnTo>
                    <a:lnTo>
                      <a:pt x="322" y="1410"/>
                    </a:lnTo>
                    <a:lnTo>
                      <a:pt x="322" y="1410"/>
                    </a:lnTo>
                    <a:lnTo>
                      <a:pt x="322" y="1402"/>
                    </a:lnTo>
                    <a:lnTo>
                      <a:pt x="322" y="1402"/>
                    </a:lnTo>
                    <a:lnTo>
                      <a:pt x="324" y="1396"/>
                    </a:lnTo>
                    <a:lnTo>
                      <a:pt x="324" y="1396"/>
                    </a:lnTo>
                    <a:lnTo>
                      <a:pt x="324" y="1390"/>
                    </a:lnTo>
                    <a:lnTo>
                      <a:pt x="322" y="1386"/>
                    </a:lnTo>
                    <a:lnTo>
                      <a:pt x="322" y="1386"/>
                    </a:lnTo>
                    <a:lnTo>
                      <a:pt x="320" y="1386"/>
                    </a:lnTo>
                    <a:lnTo>
                      <a:pt x="320" y="1386"/>
                    </a:lnTo>
                    <a:lnTo>
                      <a:pt x="314" y="1386"/>
                    </a:lnTo>
                    <a:lnTo>
                      <a:pt x="314" y="1382"/>
                    </a:lnTo>
                    <a:lnTo>
                      <a:pt x="314" y="1382"/>
                    </a:lnTo>
                    <a:lnTo>
                      <a:pt x="314" y="1374"/>
                    </a:lnTo>
                    <a:lnTo>
                      <a:pt x="314" y="1374"/>
                    </a:lnTo>
                    <a:lnTo>
                      <a:pt x="314" y="1355"/>
                    </a:lnTo>
                    <a:lnTo>
                      <a:pt x="314" y="1355"/>
                    </a:lnTo>
                    <a:lnTo>
                      <a:pt x="314" y="1351"/>
                    </a:lnTo>
                    <a:lnTo>
                      <a:pt x="312" y="1347"/>
                    </a:lnTo>
                    <a:lnTo>
                      <a:pt x="312" y="1347"/>
                    </a:lnTo>
                    <a:lnTo>
                      <a:pt x="312" y="1347"/>
                    </a:lnTo>
                    <a:lnTo>
                      <a:pt x="312" y="1347"/>
                    </a:lnTo>
                    <a:lnTo>
                      <a:pt x="308" y="1345"/>
                    </a:lnTo>
                    <a:lnTo>
                      <a:pt x="306" y="1339"/>
                    </a:lnTo>
                    <a:lnTo>
                      <a:pt x="306" y="1333"/>
                    </a:lnTo>
                    <a:lnTo>
                      <a:pt x="306" y="1333"/>
                    </a:lnTo>
                    <a:lnTo>
                      <a:pt x="306" y="1333"/>
                    </a:lnTo>
                    <a:lnTo>
                      <a:pt x="306" y="1331"/>
                    </a:lnTo>
                    <a:lnTo>
                      <a:pt x="306" y="1331"/>
                    </a:lnTo>
                    <a:lnTo>
                      <a:pt x="305" y="1331"/>
                    </a:lnTo>
                    <a:lnTo>
                      <a:pt x="299" y="1331"/>
                    </a:lnTo>
                    <a:lnTo>
                      <a:pt x="299" y="1325"/>
                    </a:lnTo>
                    <a:lnTo>
                      <a:pt x="299" y="1263"/>
                    </a:lnTo>
                    <a:lnTo>
                      <a:pt x="299" y="1263"/>
                    </a:lnTo>
                    <a:lnTo>
                      <a:pt x="299" y="1253"/>
                    </a:lnTo>
                    <a:lnTo>
                      <a:pt x="299" y="1253"/>
                    </a:lnTo>
                    <a:lnTo>
                      <a:pt x="299" y="1245"/>
                    </a:lnTo>
                    <a:lnTo>
                      <a:pt x="299" y="1245"/>
                    </a:lnTo>
                    <a:lnTo>
                      <a:pt x="299" y="1239"/>
                    </a:lnTo>
                    <a:lnTo>
                      <a:pt x="297" y="1235"/>
                    </a:lnTo>
                    <a:lnTo>
                      <a:pt x="297" y="1235"/>
                    </a:lnTo>
                    <a:lnTo>
                      <a:pt x="295" y="1233"/>
                    </a:lnTo>
                    <a:lnTo>
                      <a:pt x="291" y="1233"/>
                    </a:lnTo>
                    <a:lnTo>
                      <a:pt x="291" y="1229"/>
                    </a:lnTo>
                    <a:lnTo>
                      <a:pt x="291" y="1229"/>
                    </a:lnTo>
                    <a:lnTo>
                      <a:pt x="291" y="1223"/>
                    </a:lnTo>
                    <a:lnTo>
                      <a:pt x="291" y="1223"/>
                    </a:lnTo>
                    <a:lnTo>
                      <a:pt x="291" y="1218"/>
                    </a:lnTo>
                    <a:lnTo>
                      <a:pt x="291" y="1218"/>
                    </a:lnTo>
                    <a:lnTo>
                      <a:pt x="291" y="1218"/>
                    </a:lnTo>
                    <a:lnTo>
                      <a:pt x="291" y="1218"/>
                    </a:lnTo>
                    <a:lnTo>
                      <a:pt x="289" y="1218"/>
                    </a:lnTo>
                    <a:lnTo>
                      <a:pt x="289" y="1218"/>
                    </a:lnTo>
                    <a:lnTo>
                      <a:pt x="285" y="1218"/>
                    </a:lnTo>
                    <a:lnTo>
                      <a:pt x="285" y="1216"/>
                    </a:lnTo>
                    <a:lnTo>
                      <a:pt x="285" y="1216"/>
                    </a:lnTo>
                    <a:lnTo>
                      <a:pt x="283" y="1212"/>
                    </a:lnTo>
                    <a:lnTo>
                      <a:pt x="283" y="1210"/>
                    </a:lnTo>
                    <a:lnTo>
                      <a:pt x="283" y="1210"/>
                    </a:lnTo>
                    <a:lnTo>
                      <a:pt x="283" y="1208"/>
                    </a:lnTo>
                    <a:lnTo>
                      <a:pt x="283" y="1206"/>
                    </a:lnTo>
                    <a:lnTo>
                      <a:pt x="283" y="1206"/>
                    </a:lnTo>
                    <a:lnTo>
                      <a:pt x="283" y="1202"/>
                    </a:lnTo>
                    <a:lnTo>
                      <a:pt x="283" y="1202"/>
                    </a:lnTo>
                    <a:lnTo>
                      <a:pt x="283" y="1202"/>
                    </a:lnTo>
                    <a:lnTo>
                      <a:pt x="281" y="1202"/>
                    </a:lnTo>
                    <a:lnTo>
                      <a:pt x="281" y="1202"/>
                    </a:lnTo>
                    <a:lnTo>
                      <a:pt x="277" y="1200"/>
                    </a:lnTo>
                    <a:lnTo>
                      <a:pt x="275" y="1198"/>
                    </a:lnTo>
                    <a:lnTo>
                      <a:pt x="275" y="1192"/>
                    </a:lnTo>
                    <a:lnTo>
                      <a:pt x="275" y="1192"/>
                    </a:lnTo>
                    <a:lnTo>
                      <a:pt x="275" y="1188"/>
                    </a:lnTo>
                    <a:lnTo>
                      <a:pt x="275" y="1188"/>
                    </a:lnTo>
                    <a:lnTo>
                      <a:pt x="273" y="1182"/>
                    </a:lnTo>
                    <a:lnTo>
                      <a:pt x="273" y="1182"/>
                    </a:lnTo>
                    <a:lnTo>
                      <a:pt x="275" y="1170"/>
                    </a:lnTo>
                    <a:lnTo>
                      <a:pt x="275" y="1170"/>
                    </a:lnTo>
                    <a:lnTo>
                      <a:pt x="275" y="1156"/>
                    </a:lnTo>
                    <a:lnTo>
                      <a:pt x="275" y="1156"/>
                    </a:lnTo>
                    <a:lnTo>
                      <a:pt x="275" y="1154"/>
                    </a:lnTo>
                    <a:lnTo>
                      <a:pt x="275" y="1154"/>
                    </a:lnTo>
                    <a:lnTo>
                      <a:pt x="273" y="1154"/>
                    </a:lnTo>
                    <a:lnTo>
                      <a:pt x="273" y="1154"/>
                    </a:lnTo>
                    <a:lnTo>
                      <a:pt x="271" y="1154"/>
                    </a:lnTo>
                    <a:lnTo>
                      <a:pt x="271" y="1154"/>
                    </a:lnTo>
                    <a:lnTo>
                      <a:pt x="269" y="1154"/>
                    </a:lnTo>
                    <a:lnTo>
                      <a:pt x="269" y="1154"/>
                    </a:lnTo>
                    <a:lnTo>
                      <a:pt x="267" y="1154"/>
                    </a:lnTo>
                    <a:lnTo>
                      <a:pt x="267" y="1154"/>
                    </a:lnTo>
                    <a:lnTo>
                      <a:pt x="265" y="1154"/>
                    </a:lnTo>
                    <a:lnTo>
                      <a:pt x="265" y="1154"/>
                    </a:lnTo>
                    <a:lnTo>
                      <a:pt x="261" y="1152"/>
                    </a:lnTo>
                    <a:lnTo>
                      <a:pt x="259" y="1148"/>
                    </a:lnTo>
                    <a:lnTo>
                      <a:pt x="259" y="1148"/>
                    </a:lnTo>
                    <a:lnTo>
                      <a:pt x="255" y="1146"/>
                    </a:lnTo>
                    <a:lnTo>
                      <a:pt x="253" y="1146"/>
                    </a:lnTo>
                    <a:lnTo>
                      <a:pt x="253" y="1146"/>
                    </a:lnTo>
                    <a:lnTo>
                      <a:pt x="247" y="1146"/>
                    </a:lnTo>
                    <a:lnTo>
                      <a:pt x="247" y="1146"/>
                    </a:lnTo>
                    <a:lnTo>
                      <a:pt x="245" y="1146"/>
                    </a:lnTo>
                    <a:lnTo>
                      <a:pt x="243" y="1146"/>
                    </a:lnTo>
                    <a:lnTo>
                      <a:pt x="243" y="1146"/>
                    </a:lnTo>
                    <a:lnTo>
                      <a:pt x="243" y="1146"/>
                    </a:lnTo>
                    <a:lnTo>
                      <a:pt x="243" y="1146"/>
                    </a:lnTo>
                    <a:lnTo>
                      <a:pt x="241" y="1146"/>
                    </a:lnTo>
                    <a:lnTo>
                      <a:pt x="241" y="1146"/>
                    </a:lnTo>
                    <a:lnTo>
                      <a:pt x="237" y="1144"/>
                    </a:lnTo>
                    <a:lnTo>
                      <a:pt x="235" y="1142"/>
                    </a:lnTo>
                    <a:lnTo>
                      <a:pt x="235" y="1138"/>
                    </a:lnTo>
                    <a:lnTo>
                      <a:pt x="235" y="1126"/>
                    </a:lnTo>
                    <a:lnTo>
                      <a:pt x="235" y="1126"/>
                    </a:lnTo>
                    <a:lnTo>
                      <a:pt x="235" y="1124"/>
                    </a:lnTo>
                    <a:lnTo>
                      <a:pt x="235" y="1124"/>
                    </a:lnTo>
                    <a:lnTo>
                      <a:pt x="235" y="1122"/>
                    </a:lnTo>
                    <a:lnTo>
                      <a:pt x="235" y="1122"/>
                    </a:lnTo>
                    <a:lnTo>
                      <a:pt x="231" y="1120"/>
                    </a:lnTo>
                    <a:lnTo>
                      <a:pt x="201" y="1120"/>
                    </a:lnTo>
                    <a:lnTo>
                      <a:pt x="201" y="1114"/>
                    </a:lnTo>
                    <a:lnTo>
                      <a:pt x="201" y="1114"/>
                    </a:lnTo>
                    <a:lnTo>
                      <a:pt x="203" y="1110"/>
                    </a:lnTo>
                    <a:lnTo>
                      <a:pt x="201" y="1106"/>
                    </a:lnTo>
                    <a:lnTo>
                      <a:pt x="201" y="1106"/>
                    </a:lnTo>
                    <a:lnTo>
                      <a:pt x="199" y="1104"/>
                    </a:lnTo>
                    <a:lnTo>
                      <a:pt x="199" y="1104"/>
                    </a:lnTo>
                    <a:lnTo>
                      <a:pt x="195" y="1102"/>
                    </a:lnTo>
                    <a:lnTo>
                      <a:pt x="193" y="1100"/>
                    </a:lnTo>
                    <a:lnTo>
                      <a:pt x="193" y="1096"/>
                    </a:lnTo>
                    <a:lnTo>
                      <a:pt x="193" y="1096"/>
                    </a:lnTo>
                    <a:lnTo>
                      <a:pt x="193" y="1096"/>
                    </a:lnTo>
                    <a:lnTo>
                      <a:pt x="193" y="1096"/>
                    </a:lnTo>
                    <a:lnTo>
                      <a:pt x="193" y="1090"/>
                    </a:lnTo>
                    <a:lnTo>
                      <a:pt x="193" y="1090"/>
                    </a:lnTo>
                    <a:lnTo>
                      <a:pt x="189" y="1084"/>
                    </a:lnTo>
                    <a:lnTo>
                      <a:pt x="185" y="1082"/>
                    </a:lnTo>
                    <a:lnTo>
                      <a:pt x="185" y="1082"/>
                    </a:lnTo>
                    <a:lnTo>
                      <a:pt x="181" y="1080"/>
                    </a:lnTo>
                    <a:lnTo>
                      <a:pt x="177" y="1080"/>
                    </a:lnTo>
                    <a:lnTo>
                      <a:pt x="177" y="1069"/>
                    </a:lnTo>
                    <a:lnTo>
                      <a:pt x="177" y="1069"/>
                    </a:lnTo>
                    <a:lnTo>
                      <a:pt x="177" y="1067"/>
                    </a:lnTo>
                    <a:lnTo>
                      <a:pt x="177" y="1067"/>
                    </a:lnTo>
                    <a:lnTo>
                      <a:pt x="177" y="1065"/>
                    </a:lnTo>
                    <a:lnTo>
                      <a:pt x="177" y="1065"/>
                    </a:lnTo>
                    <a:lnTo>
                      <a:pt x="177" y="1053"/>
                    </a:lnTo>
                    <a:lnTo>
                      <a:pt x="177" y="1053"/>
                    </a:lnTo>
                    <a:lnTo>
                      <a:pt x="179" y="1043"/>
                    </a:lnTo>
                    <a:lnTo>
                      <a:pt x="179" y="1037"/>
                    </a:lnTo>
                    <a:lnTo>
                      <a:pt x="177" y="1033"/>
                    </a:lnTo>
                    <a:lnTo>
                      <a:pt x="177" y="1033"/>
                    </a:lnTo>
                    <a:lnTo>
                      <a:pt x="175" y="1033"/>
                    </a:lnTo>
                    <a:lnTo>
                      <a:pt x="175" y="1033"/>
                    </a:lnTo>
                    <a:lnTo>
                      <a:pt x="169" y="1033"/>
                    </a:lnTo>
                    <a:lnTo>
                      <a:pt x="169" y="1027"/>
                    </a:lnTo>
                    <a:lnTo>
                      <a:pt x="169" y="1027"/>
                    </a:lnTo>
                    <a:lnTo>
                      <a:pt x="169" y="1023"/>
                    </a:lnTo>
                    <a:lnTo>
                      <a:pt x="169" y="1023"/>
                    </a:lnTo>
                    <a:lnTo>
                      <a:pt x="169" y="1017"/>
                    </a:lnTo>
                    <a:lnTo>
                      <a:pt x="169" y="1017"/>
                    </a:lnTo>
                    <a:lnTo>
                      <a:pt x="167" y="1017"/>
                    </a:lnTo>
                    <a:lnTo>
                      <a:pt x="167" y="1017"/>
                    </a:lnTo>
                    <a:lnTo>
                      <a:pt x="165" y="1015"/>
                    </a:lnTo>
                    <a:lnTo>
                      <a:pt x="163" y="1015"/>
                    </a:lnTo>
                    <a:lnTo>
                      <a:pt x="163" y="1015"/>
                    </a:lnTo>
                    <a:lnTo>
                      <a:pt x="161" y="1011"/>
                    </a:lnTo>
                    <a:lnTo>
                      <a:pt x="161" y="1007"/>
                    </a:lnTo>
                    <a:lnTo>
                      <a:pt x="161" y="1007"/>
                    </a:lnTo>
                    <a:lnTo>
                      <a:pt x="161" y="1007"/>
                    </a:lnTo>
                    <a:lnTo>
                      <a:pt x="161" y="1007"/>
                    </a:lnTo>
                    <a:lnTo>
                      <a:pt x="161" y="1003"/>
                    </a:lnTo>
                    <a:lnTo>
                      <a:pt x="161" y="1003"/>
                    </a:lnTo>
                    <a:lnTo>
                      <a:pt x="161" y="1001"/>
                    </a:lnTo>
                    <a:lnTo>
                      <a:pt x="161" y="1001"/>
                    </a:lnTo>
                    <a:lnTo>
                      <a:pt x="161" y="1001"/>
                    </a:lnTo>
                    <a:lnTo>
                      <a:pt x="161" y="1001"/>
                    </a:lnTo>
                    <a:lnTo>
                      <a:pt x="159" y="1001"/>
                    </a:lnTo>
                    <a:lnTo>
                      <a:pt x="159" y="1001"/>
                    </a:lnTo>
                    <a:lnTo>
                      <a:pt x="155" y="999"/>
                    </a:lnTo>
                    <a:lnTo>
                      <a:pt x="153" y="995"/>
                    </a:lnTo>
                    <a:lnTo>
                      <a:pt x="153" y="995"/>
                    </a:lnTo>
                    <a:lnTo>
                      <a:pt x="151" y="991"/>
                    </a:lnTo>
                    <a:lnTo>
                      <a:pt x="151" y="991"/>
                    </a:lnTo>
                    <a:lnTo>
                      <a:pt x="146" y="981"/>
                    </a:lnTo>
                    <a:lnTo>
                      <a:pt x="146" y="981"/>
                    </a:lnTo>
                    <a:lnTo>
                      <a:pt x="142" y="975"/>
                    </a:lnTo>
                    <a:lnTo>
                      <a:pt x="142" y="975"/>
                    </a:lnTo>
                    <a:lnTo>
                      <a:pt x="140" y="967"/>
                    </a:lnTo>
                    <a:lnTo>
                      <a:pt x="140" y="967"/>
                    </a:lnTo>
                    <a:lnTo>
                      <a:pt x="134" y="955"/>
                    </a:lnTo>
                    <a:lnTo>
                      <a:pt x="130" y="951"/>
                    </a:lnTo>
                    <a:lnTo>
                      <a:pt x="126" y="947"/>
                    </a:lnTo>
                    <a:lnTo>
                      <a:pt x="126" y="947"/>
                    </a:lnTo>
                    <a:lnTo>
                      <a:pt x="118" y="943"/>
                    </a:lnTo>
                    <a:lnTo>
                      <a:pt x="118" y="943"/>
                    </a:lnTo>
                    <a:lnTo>
                      <a:pt x="116" y="941"/>
                    </a:lnTo>
                    <a:lnTo>
                      <a:pt x="114" y="937"/>
                    </a:lnTo>
                    <a:lnTo>
                      <a:pt x="114" y="929"/>
                    </a:lnTo>
                    <a:lnTo>
                      <a:pt x="114" y="929"/>
                    </a:lnTo>
                    <a:lnTo>
                      <a:pt x="114" y="929"/>
                    </a:lnTo>
                    <a:lnTo>
                      <a:pt x="114" y="900"/>
                    </a:lnTo>
                    <a:lnTo>
                      <a:pt x="120" y="902"/>
                    </a:lnTo>
                    <a:lnTo>
                      <a:pt x="120" y="902"/>
                    </a:lnTo>
                    <a:lnTo>
                      <a:pt x="122" y="902"/>
                    </a:lnTo>
                    <a:lnTo>
                      <a:pt x="122" y="902"/>
                    </a:lnTo>
                    <a:lnTo>
                      <a:pt x="122" y="902"/>
                    </a:lnTo>
                    <a:lnTo>
                      <a:pt x="122" y="894"/>
                    </a:lnTo>
                    <a:lnTo>
                      <a:pt x="122" y="894"/>
                    </a:lnTo>
                    <a:lnTo>
                      <a:pt x="122" y="894"/>
                    </a:lnTo>
                    <a:lnTo>
                      <a:pt x="122" y="888"/>
                    </a:lnTo>
                    <a:lnTo>
                      <a:pt x="128" y="884"/>
                    </a:lnTo>
                    <a:lnTo>
                      <a:pt x="128" y="884"/>
                    </a:lnTo>
                    <a:lnTo>
                      <a:pt x="128" y="884"/>
                    </a:lnTo>
                    <a:lnTo>
                      <a:pt x="128" y="884"/>
                    </a:lnTo>
                    <a:lnTo>
                      <a:pt x="128" y="882"/>
                    </a:lnTo>
                    <a:lnTo>
                      <a:pt x="128" y="882"/>
                    </a:lnTo>
                    <a:lnTo>
                      <a:pt x="128" y="880"/>
                    </a:lnTo>
                    <a:lnTo>
                      <a:pt x="128" y="880"/>
                    </a:lnTo>
                    <a:lnTo>
                      <a:pt x="124" y="878"/>
                    </a:lnTo>
                    <a:lnTo>
                      <a:pt x="122" y="874"/>
                    </a:lnTo>
                    <a:lnTo>
                      <a:pt x="122" y="864"/>
                    </a:lnTo>
                    <a:lnTo>
                      <a:pt x="122" y="864"/>
                    </a:lnTo>
                    <a:lnTo>
                      <a:pt x="122" y="862"/>
                    </a:lnTo>
                    <a:lnTo>
                      <a:pt x="122" y="844"/>
                    </a:lnTo>
                    <a:lnTo>
                      <a:pt x="128" y="844"/>
                    </a:lnTo>
                    <a:lnTo>
                      <a:pt x="128" y="844"/>
                    </a:lnTo>
                    <a:lnTo>
                      <a:pt x="128" y="844"/>
                    </a:lnTo>
                    <a:lnTo>
                      <a:pt x="128" y="844"/>
                    </a:lnTo>
                    <a:lnTo>
                      <a:pt x="130" y="842"/>
                    </a:lnTo>
                    <a:lnTo>
                      <a:pt x="130" y="842"/>
                    </a:lnTo>
                    <a:lnTo>
                      <a:pt x="132" y="838"/>
                    </a:lnTo>
                    <a:lnTo>
                      <a:pt x="132" y="838"/>
                    </a:lnTo>
                    <a:lnTo>
                      <a:pt x="136" y="832"/>
                    </a:lnTo>
                    <a:lnTo>
                      <a:pt x="136" y="832"/>
                    </a:lnTo>
                    <a:lnTo>
                      <a:pt x="138" y="828"/>
                    </a:lnTo>
                    <a:lnTo>
                      <a:pt x="138" y="826"/>
                    </a:lnTo>
                    <a:lnTo>
                      <a:pt x="138" y="818"/>
                    </a:lnTo>
                    <a:lnTo>
                      <a:pt x="144" y="820"/>
                    </a:lnTo>
                    <a:lnTo>
                      <a:pt x="144" y="820"/>
                    </a:lnTo>
                    <a:lnTo>
                      <a:pt x="146" y="820"/>
                    </a:lnTo>
                    <a:lnTo>
                      <a:pt x="146" y="820"/>
                    </a:lnTo>
                    <a:lnTo>
                      <a:pt x="146" y="820"/>
                    </a:lnTo>
                    <a:lnTo>
                      <a:pt x="146" y="820"/>
                    </a:lnTo>
                    <a:lnTo>
                      <a:pt x="146" y="818"/>
                    </a:lnTo>
                    <a:lnTo>
                      <a:pt x="146" y="784"/>
                    </a:lnTo>
                    <a:lnTo>
                      <a:pt x="153" y="788"/>
                    </a:lnTo>
                    <a:lnTo>
                      <a:pt x="153" y="788"/>
                    </a:lnTo>
                    <a:lnTo>
                      <a:pt x="155" y="786"/>
                    </a:lnTo>
                    <a:lnTo>
                      <a:pt x="155" y="776"/>
                    </a:lnTo>
                    <a:lnTo>
                      <a:pt x="155" y="776"/>
                    </a:lnTo>
                    <a:lnTo>
                      <a:pt x="155" y="769"/>
                    </a:lnTo>
                    <a:lnTo>
                      <a:pt x="153" y="767"/>
                    </a:lnTo>
                    <a:lnTo>
                      <a:pt x="146" y="769"/>
                    </a:lnTo>
                    <a:lnTo>
                      <a:pt x="146" y="761"/>
                    </a:lnTo>
                    <a:lnTo>
                      <a:pt x="146" y="761"/>
                    </a:lnTo>
                    <a:lnTo>
                      <a:pt x="146" y="757"/>
                    </a:lnTo>
                    <a:lnTo>
                      <a:pt x="146" y="757"/>
                    </a:lnTo>
                    <a:lnTo>
                      <a:pt x="146" y="749"/>
                    </a:lnTo>
                    <a:lnTo>
                      <a:pt x="144" y="745"/>
                    </a:lnTo>
                    <a:lnTo>
                      <a:pt x="144" y="745"/>
                    </a:lnTo>
                    <a:lnTo>
                      <a:pt x="144" y="743"/>
                    </a:lnTo>
                    <a:lnTo>
                      <a:pt x="144" y="743"/>
                    </a:lnTo>
                    <a:lnTo>
                      <a:pt x="140" y="741"/>
                    </a:lnTo>
                    <a:lnTo>
                      <a:pt x="138" y="739"/>
                    </a:lnTo>
                    <a:lnTo>
                      <a:pt x="138" y="735"/>
                    </a:lnTo>
                    <a:lnTo>
                      <a:pt x="138" y="725"/>
                    </a:lnTo>
                    <a:lnTo>
                      <a:pt x="138" y="725"/>
                    </a:lnTo>
                    <a:lnTo>
                      <a:pt x="134" y="727"/>
                    </a:lnTo>
                    <a:lnTo>
                      <a:pt x="134" y="727"/>
                    </a:lnTo>
                    <a:lnTo>
                      <a:pt x="132" y="727"/>
                    </a:lnTo>
                    <a:lnTo>
                      <a:pt x="132" y="727"/>
                    </a:lnTo>
                    <a:lnTo>
                      <a:pt x="132" y="727"/>
                    </a:lnTo>
                    <a:lnTo>
                      <a:pt x="104" y="727"/>
                    </a:lnTo>
                    <a:lnTo>
                      <a:pt x="106" y="721"/>
                    </a:lnTo>
                    <a:lnTo>
                      <a:pt x="106" y="721"/>
                    </a:lnTo>
                    <a:lnTo>
                      <a:pt x="106" y="719"/>
                    </a:lnTo>
                    <a:lnTo>
                      <a:pt x="106" y="719"/>
                    </a:lnTo>
                    <a:lnTo>
                      <a:pt x="106" y="719"/>
                    </a:lnTo>
                    <a:lnTo>
                      <a:pt x="106" y="719"/>
                    </a:lnTo>
                    <a:lnTo>
                      <a:pt x="104" y="719"/>
                    </a:lnTo>
                    <a:lnTo>
                      <a:pt x="104" y="719"/>
                    </a:lnTo>
                    <a:lnTo>
                      <a:pt x="104" y="719"/>
                    </a:lnTo>
                    <a:lnTo>
                      <a:pt x="104" y="719"/>
                    </a:lnTo>
                    <a:lnTo>
                      <a:pt x="100" y="717"/>
                    </a:lnTo>
                    <a:lnTo>
                      <a:pt x="98" y="711"/>
                    </a:lnTo>
                    <a:lnTo>
                      <a:pt x="98" y="707"/>
                    </a:lnTo>
                    <a:lnTo>
                      <a:pt x="98" y="705"/>
                    </a:lnTo>
                    <a:lnTo>
                      <a:pt x="98" y="705"/>
                    </a:lnTo>
                    <a:lnTo>
                      <a:pt x="98" y="701"/>
                    </a:lnTo>
                    <a:lnTo>
                      <a:pt x="98" y="701"/>
                    </a:lnTo>
                    <a:lnTo>
                      <a:pt x="98" y="695"/>
                    </a:lnTo>
                    <a:lnTo>
                      <a:pt x="98" y="695"/>
                    </a:lnTo>
                    <a:lnTo>
                      <a:pt x="98" y="687"/>
                    </a:lnTo>
                    <a:lnTo>
                      <a:pt x="96" y="681"/>
                    </a:lnTo>
                    <a:lnTo>
                      <a:pt x="96" y="681"/>
                    </a:lnTo>
                    <a:lnTo>
                      <a:pt x="96" y="679"/>
                    </a:lnTo>
                    <a:lnTo>
                      <a:pt x="94" y="677"/>
                    </a:lnTo>
                    <a:lnTo>
                      <a:pt x="90" y="677"/>
                    </a:lnTo>
                    <a:lnTo>
                      <a:pt x="90" y="673"/>
                    </a:lnTo>
                    <a:lnTo>
                      <a:pt x="90" y="673"/>
                    </a:lnTo>
                    <a:lnTo>
                      <a:pt x="86" y="669"/>
                    </a:lnTo>
                    <a:lnTo>
                      <a:pt x="86" y="669"/>
                    </a:lnTo>
                    <a:lnTo>
                      <a:pt x="84" y="667"/>
                    </a:lnTo>
                    <a:lnTo>
                      <a:pt x="84" y="667"/>
                    </a:lnTo>
                    <a:lnTo>
                      <a:pt x="82" y="661"/>
                    </a:lnTo>
                    <a:lnTo>
                      <a:pt x="82" y="657"/>
                    </a:lnTo>
                    <a:lnTo>
                      <a:pt x="82" y="657"/>
                    </a:lnTo>
                    <a:lnTo>
                      <a:pt x="82" y="655"/>
                    </a:lnTo>
                    <a:lnTo>
                      <a:pt x="82" y="655"/>
                    </a:lnTo>
                    <a:lnTo>
                      <a:pt x="78" y="653"/>
                    </a:lnTo>
                    <a:lnTo>
                      <a:pt x="72" y="653"/>
                    </a:lnTo>
                    <a:lnTo>
                      <a:pt x="74" y="647"/>
                    </a:lnTo>
                    <a:lnTo>
                      <a:pt x="74" y="647"/>
                    </a:lnTo>
                    <a:lnTo>
                      <a:pt x="74" y="647"/>
                    </a:lnTo>
                    <a:lnTo>
                      <a:pt x="74" y="647"/>
                    </a:lnTo>
                    <a:lnTo>
                      <a:pt x="74" y="647"/>
                    </a:lnTo>
                    <a:lnTo>
                      <a:pt x="74" y="647"/>
                    </a:lnTo>
                    <a:lnTo>
                      <a:pt x="70" y="645"/>
                    </a:lnTo>
                    <a:lnTo>
                      <a:pt x="64" y="645"/>
                    </a:lnTo>
                    <a:lnTo>
                      <a:pt x="66" y="639"/>
                    </a:lnTo>
                    <a:lnTo>
                      <a:pt x="66" y="639"/>
                    </a:lnTo>
                    <a:lnTo>
                      <a:pt x="66" y="637"/>
                    </a:lnTo>
                    <a:lnTo>
                      <a:pt x="66" y="637"/>
                    </a:lnTo>
                    <a:lnTo>
                      <a:pt x="66" y="637"/>
                    </a:lnTo>
                    <a:lnTo>
                      <a:pt x="66" y="637"/>
                    </a:lnTo>
                    <a:lnTo>
                      <a:pt x="60" y="637"/>
                    </a:lnTo>
                    <a:lnTo>
                      <a:pt x="60" y="637"/>
                    </a:lnTo>
                    <a:lnTo>
                      <a:pt x="56" y="637"/>
                    </a:lnTo>
                    <a:lnTo>
                      <a:pt x="56" y="637"/>
                    </a:lnTo>
                    <a:lnTo>
                      <a:pt x="54" y="637"/>
                    </a:lnTo>
                    <a:lnTo>
                      <a:pt x="50" y="637"/>
                    </a:lnTo>
                    <a:lnTo>
                      <a:pt x="50" y="635"/>
                    </a:lnTo>
                    <a:lnTo>
                      <a:pt x="50" y="635"/>
                    </a:lnTo>
                    <a:lnTo>
                      <a:pt x="46" y="627"/>
                    </a:lnTo>
                    <a:lnTo>
                      <a:pt x="42" y="623"/>
                    </a:lnTo>
                    <a:lnTo>
                      <a:pt x="40" y="621"/>
                    </a:lnTo>
                    <a:lnTo>
                      <a:pt x="38" y="621"/>
                    </a:lnTo>
                    <a:lnTo>
                      <a:pt x="38" y="621"/>
                    </a:lnTo>
                    <a:lnTo>
                      <a:pt x="34" y="619"/>
                    </a:lnTo>
                    <a:lnTo>
                      <a:pt x="34" y="614"/>
                    </a:lnTo>
                    <a:lnTo>
                      <a:pt x="34" y="614"/>
                    </a:lnTo>
                    <a:lnTo>
                      <a:pt x="34" y="614"/>
                    </a:lnTo>
                    <a:lnTo>
                      <a:pt x="32" y="610"/>
                    </a:lnTo>
                    <a:lnTo>
                      <a:pt x="32" y="610"/>
                    </a:lnTo>
                    <a:lnTo>
                      <a:pt x="32" y="608"/>
                    </a:lnTo>
                    <a:lnTo>
                      <a:pt x="32" y="608"/>
                    </a:lnTo>
                    <a:lnTo>
                      <a:pt x="26" y="606"/>
                    </a:lnTo>
                    <a:lnTo>
                      <a:pt x="26" y="606"/>
                    </a:lnTo>
                    <a:lnTo>
                      <a:pt x="20" y="606"/>
                    </a:lnTo>
                    <a:lnTo>
                      <a:pt x="14" y="602"/>
                    </a:lnTo>
                    <a:lnTo>
                      <a:pt x="14" y="602"/>
                    </a:lnTo>
                    <a:lnTo>
                      <a:pt x="12" y="600"/>
                    </a:lnTo>
                    <a:lnTo>
                      <a:pt x="12" y="600"/>
                    </a:lnTo>
                    <a:lnTo>
                      <a:pt x="8" y="598"/>
                    </a:lnTo>
                    <a:lnTo>
                      <a:pt x="8" y="598"/>
                    </a:lnTo>
                    <a:lnTo>
                      <a:pt x="8" y="598"/>
                    </a:lnTo>
                    <a:lnTo>
                      <a:pt x="8" y="598"/>
                    </a:lnTo>
                    <a:lnTo>
                      <a:pt x="4" y="598"/>
                    </a:lnTo>
                    <a:lnTo>
                      <a:pt x="2" y="596"/>
                    </a:lnTo>
                    <a:lnTo>
                      <a:pt x="0" y="590"/>
                    </a:lnTo>
                    <a:lnTo>
                      <a:pt x="0" y="480"/>
                    </a:lnTo>
                    <a:lnTo>
                      <a:pt x="6" y="482"/>
                    </a:lnTo>
                    <a:lnTo>
                      <a:pt x="6" y="482"/>
                    </a:lnTo>
                    <a:lnTo>
                      <a:pt x="8" y="482"/>
                    </a:lnTo>
                    <a:lnTo>
                      <a:pt x="8" y="482"/>
                    </a:lnTo>
                    <a:lnTo>
                      <a:pt x="8" y="478"/>
                    </a:lnTo>
                    <a:lnTo>
                      <a:pt x="8" y="474"/>
                    </a:lnTo>
                    <a:lnTo>
                      <a:pt x="8" y="474"/>
                    </a:lnTo>
                    <a:lnTo>
                      <a:pt x="8" y="470"/>
                    </a:lnTo>
                    <a:lnTo>
                      <a:pt x="8" y="465"/>
                    </a:lnTo>
                    <a:lnTo>
                      <a:pt x="14" y="467"/>
                    </a:lnTo>
                    <a:lnTo>
                      <a:pt x="14" y="467"/>
                    </a:lnTo>
                    <a:lnTo>
                      <a:pt x="16" y="467"/>
                    </a:lnTo>
                    <a:lnTo>
                      <a:pt x="16" y="467"/>
                    </a:lnTo>
                    <a:lnTo>
                      <a:pt x="16" y="467"/>
                    </a:lnTo>
                    <a:lnTo>
                      <a:pt x="16" y="461"/>
                    </a:lnTo>
                    <a:lnTo>
                      <a:pt x="16" y="449"/>
                    </a:lnTo>
                    <a:lnTo>
                      <a:pt x="16" y="449"/>
                    </a:lnTo>
                    <a:lnTo>
                      <a:pt x="18" y="447"/>
                    </a:lnTo>
                    <a:lnTo>
                      <a:pt x="18" y="443"/>
                    </a:lnTo>
                    <a:lnTo>
                      <a:pt x="22" y="441"/>
                    </a:lnTo>
                    <a:lnTo>
                      <a:pt x="22" y="441"/>
                    </a:lnTo>
                    <a:lnTo>
                      <a:pt x="22" y="441"/>
                    </a:lnTo>
                    <a:lnTo>
                      <a:pt x="22" y="441"/>
                    </a:lnTo>
                    <a:lnTo>
                      <a:pt x="22" y="437"/>
                    </a:lnTo>
                    <a:lnTo>
                      <a:pt x="22" y="437"/>
                    </a:lnTo>
                    <a:lnTo>
                      <a:pt x="22" y="437"/>
                    </a:lnTo>
                    <a:lnTo>
                      <a:pt x="20" y="437"/>
                    </a:lnTo>
                    <a:lnTo>
                      <a:pt x="20" y="437"/>
                    </a:lnTo>
                    <a:lnTo>
                      <a:pt x="16" y="437"/>
                    </a:lnTo>
                    <a:lnTo>
                      <a:pt x="16" y="437"/>
                    </a:lnTo>
                    <a:lnTo>
                      <a:pt x="14" y="437"/>
                    </a:lnTo>
                    <a:lnTo>
                      <a:pt x="4" y="437"/>
                    </a:lnTo>
                    <a:lnTo>
                      <a:pt x="8" y="429"/>
                    </a:lnTo>
                    <a:lnTo>
                      <a:pt x="8" y="429"/>
                    </a:lnTo>
                    <a:lnTo>
                      <a:pt x="42" y="373"/>
                    </a:lnTo>
                    <a:lnTo>
                      <a:pt x="80" y="319"/>
                    </a:lnTo>
                    <a:lnTo>
                      <a:pt x="80" y="319"/>
                    </a:lnTo>
                    <a:lnTo>
                      <a:pt x="104" y="288"/>
                    </a:lnTo>
                    <a:lnTo>
                      <a:pt x="130" y="256"/>
                    </a:lnTo>
                    <a:lnTo>
                      <a:pt x="157" y="226"/>
                    </a:lnTo>
                    <a:lnTo>
                      <a:pt x="185" y="198"/>
                    </a:lnTo>
                    <a:lnTo>
                      <a:pt x="215" y="168"/>
                    </a:lnTo>
                    <a:lnTo>
                      <a:pt x="247" y="143"/>
                    </a:lnTo>
                    <a:lnTo>
                      <a:pt x="281" y="115"/>
                    </a:lnTo>
                    <a:lnTo>
                      <a:pt x="314" y="91"/>
                    </a:lnTo>
                    <a:lnTo>
                      <a:pt x="314" y="91"/>
                    </a:lnTo>
                    <a:lnTo>
                      <a:pt x="348" y="67"/>
                    </a:lnTo>
                    <a:lnTo>
                      <a:pt x="384" y="45"/>
                    </a:lnTo>
                    <a:lnTo>
                      <a:pt x="420" y="23"/>
                    </a:lnTo>
                    <a:lnTo>
                      <a:pt x="458" y="2"/>
                    </a:lnTo>
                    <a:lnTo>
                      <a:pt x="458" y="2"/>
                    </a:lnTo>
                    <a:lnTo>
                      <a:pt x="465" y="0"/>
                    </a:lnTo>
                    <a:lnTo>
                      <a:pt x="473" y="0"/>
                    </a:lnTo>
                    <a:lnTo>
                      <a:pt x="485" y="0"/>
                    </a:lnTo>
                    <a:lnTo>
                      <a:pt x="485" y="0"/>
                    </a:lnTo>
                    <a:lnTo>
                      <a:pt x="493" y="0"/>
                    </a:lnTo>
                    <a:lnTo>
                      <a:pt x="499" y="4"/>
                    </a:lnTo>
                    <a:lnTo>
                      <a:pt x="501" y="10"/>
                    </a:lnTo>
                    <a:lnTo>
                      <a:pt x="501" y="10"/>
                    </a:lnTo>
                    <a:lnTo>
                      <a:pt x="501" y="17"/>
                    </a:lnTo>
                    <a:lnTo>
                      <a:pt x="497" y="25"/>
                    </a:lnTo>
                    <a:lnTo>
                      <a:pt x="497" y="25"/>
                    </a:lnTo>
                    <a:lnTo>
                      <a:pt x="493" y="31"/>
                    </a:lnTo>
                    <a:lnTo>
                      <a:pt x="491" y="33"/>
                    </a:lnTo>
                    <a:lnTo>
                      <a:pt x="487" y="33"/>
                    </a:lnTo>
                    <a:lnTo>
                      <a:pt x="487" y="33"/>
                    </a:lnTo>
                    <a:lnTo>
                      <a:pt x="487" y="33"/>
                    </a:lnTo>
                    <a:lnTo>
                      <a:pt x="487" y="33"/>
                    </a:lnTo>
                    <a:lnTo>
                      <a:pt x="487" y="35"/>
                    </a:lnTo>
                    <a:lnTo>
                      <a:pt x="487" y="35"/>
                    </a:lnTo>
                    <a:lnTo>
                      <a:pt x="487" y="35"/>
                    </a:lnTo>
                    <a:lnTo>
                      <a:pt x="487" y="35"/>
                    </a:lnTo>
                    <a:lnTo>
                      <a:pt x="485" y="39"/>
                    </a:lnTo>
                    <a:lnTo>
                      <a:pt x="479" y="41"/>
                    </a:lnTo>
                    <a:lnTo>
                      <a:pt x="467" y="41"/>
                    </a:lnTo>
                    <a:lnTo>
                      <a:pt x="467" y="41"/>
                    </a:lnTo>
                    <a:lnTo>
                      <a:pt x="463" y="41"/>
                    </a:lnTo>
                    <a:lnTo>
                      <a:pt x="463" y="41"/>
                    </a:lnTo>
                    <a:lnTo>
                      <a:pt x="463" y="43"/>
                    </a:lnTo>
                    <a:lnTo>
                      <a:pt x="463" y="43"/>
                    </a:lnTo>
                    <a:lnTo>
                      <a:pt x="460" y="47"/>
                    </a:lnTo>
                    <a:lnTo>
                      <a:pt x="458" y="49"/>
                    </a:lnTo>
                    <a:lnTo>
                      <a:pt x="456" y="49"/>
                    </a:lnTo>
                    <a:lnTo>
                      <a:pt x="456" y="49"/>
                    </a:lnTo>
                    <a:lnTo>
                      <a:pt x="452" y="49"/>
                    </a:lnTo>
                    <a:lnTo>
                      <a:pt x="452" y="49"/>
                    </a:lnTo>
                    <a:lnTo>
                      <a:pt x="45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2" y="49"/>
                    </a:lnTo>
                    <a:lnTo>
                      <a:pt x="430" y="53"/>
                    </a:lnTo>
                    <a:lnTo>
                      <a:pt x="430" y="59"/>
                    </a:lnTo>
                    <a:lnTo>
                      <a:pt x="424" y="57"/>
                    </a:lnTo>
                    <a:lnTo>
                      <a:pt x="424" y="57"/>
                    </a:lnTo>
                    <a:lnTo>
                      <a:pt x="424" y="57"/>
                    </a:lnTo>
                    <a:lnTo>
                      <a:pt x="424" y="57"/>
                    </a:lnTo>
                    <a:lnTo>
                      <a:pt x="422" y="65"/>
                    </a:lnTo>
                    <a:lnTo>
                      <a:pt x="422" y="73"/>
                    </a:lnTo>
                    <a:lnTo>
                      <a:pt x="422" y="73"/>
                    </a:lnTo>
                    <a:lnTo>
                      <a:pt x="422" y="73"/>
                    </a:lnTo>
                    <a:lnTo>
                      <a:pt x="422" y="73"/>
                    </a:lnTo>
                    <a:lnTo>
                      <a:pt x="422" y="77"/>
                    </a:lnTo>
                    <a:lnTo>
                      <a:pt x="420" y="79"/>
                    </a:lnTo>
                    <a:lnTo>
                      <a:pt x="420" y="79"/>
                    </a:lnTo>
                    <a:lnTo>
                      <a:pt x="418" y="81"/>
                    </a:lnTo>
                    <a:lnTo>
                      <a:pt x="414" y="81"/>
                    </a:lnTo>
                    <a:lnTo>
                      <a:pt x="414" y="81"/>
                    </a:lnTo>
                    <a:lnTo>
                      <a:pt x="414" y="91"/>
                    </a:lnTo>
                    <a:lnTo>
                      <a:pt x="408" y="89"/>
                    </a:lnTo>
                    <a:lnTo>
                      <a:pt x="408" y="89"/>
                    </a:lnTo>
                    <a:lnTo>
                      <a:pt x="406" y="89"/>
                    </a:lnTo>
                    <a:lnTo>
                      <a:pt x="406" y="89"/>
                    </a:lnTo>
                    <a:lnTo>
                      <a:pt x="406" y="93"/>
                    </a:lnTo>
                    <a:lnTo>
                      <a:pt x="406" y="99"/>
                    </a:lnTo>
                    <a:lnTo>
                      <a:pt x="406" y="99"/>
                    </a:lnTo>
                    <a:lnTo>
                      <a:pt x="406" y="101"/>
                    </a:lnTo>
                    <a:lnTo>
                      <a:pt x="406" y="101"/>
                    </a:lnTo>
                    <a:lnTo>
                      <a:pt x="408" y="105"/>
                    </a:lnTo>
                    <a:lnTo>
                      <a:pt x="408" y="105"/>
                    </a:lnTo>
                    <a:lnTo>
                      <a:pt x="410" y="111"/>
                    </a:lnTo>
                    <a:lnTo>
                      <a:pt x="412" y="115"/>
                    </a:lnTo>
                    <a:lnTo>
                      <a:pt x="410" y="119"/>
                    </a:lnTo>
                    <a:lnTo>
                      <a:pt x="410" y="119"/>
                    </a:lnTo>
                    <a:lnTo>
                      <a:pt x="408" y="125"/>
                    </a:lnTo>
                    <a:lnTo>
                      <a:pt x="408" y="125"/>
                    </a:lnTo>
                    <a:lnTo>
                      <a:pt x="406" y="127"/>
                    </a:lnTo>
                    <a:lnTo>
                      <a:pt x="406" y="127"/>
                    </a:lnTo>
                    <a:lnTo>
                      <a:pt x="408" y="127"/>
                    </a:lnTo>
                    <a:lnTo>
                      <a:pt x="408" y="127"/>
                    </a:lnTo>
                    <a:lnTo>
                      <a:pt x="410" y="127"/>
                    </a:lnTo>
                    <a:lnTo>
                      <a:pt x="410" y="127"/>
                    </a:lnTo>
                    <a:lnTo>
                      <a:pt x="412" y="127"/>
                    </a:lnTo>
                    <a:lnTo>
                      <a:pt x="412" y="127"/>
                    </a:lnTo>
                    <a:lnTo>
                      <a:pt x="412" y="127"/>
                    </a:lnTo>
                    <a:lnTo>
                      <a:pt x="412" y="127"/>
                    </a:lnTo>
                    <a:lnTo>
                      <a:pt x="414" y="123"/>
                    </a:lnTo>
                    <a:lnTo>
                      <a:pt x="418" y="119"/>
                    </a:lnTo>
                    <a:lnTo>
                      <a:pt x="418" y="119"/>
                    </a:lnTo>
                    <a:lnTo>
                      <a:pt x="422" y="117"/>
                    </a:lnTo>
                    <a:lnTo>
                      <a:pt x="426" y="113"/>
                    </a:lnTo>
                    <a:lnTo>
                      <a:pt x="426" y="113"/>
                    </a:lnTo>
                    <a:lnTo>
                      <a:pt x="432" y="109"/>
                    </a:lnTo>
                    <a:lnTo>
                      <a:pt x="432" y="109"/>
                    </a:lnTo>
                    <a:lnTo>
                      <a:pt x="438" y="105"/>
                    </a:lnTo>
                    <a:lnTo>
                      <a:pt x="444" y="103"/>
                    </a:lnTo>
                    <a:lnTo>
                      <a:pt x="444" y="103"/>
                    </a:lnTo>
                    <a:lnTo>
                      <a:pt x="444" y="103"/>
                    </a:lnTo>
                    <a:lnTo>
                      <a:pt x="444" y="103"/>
                    </a:lnTo>
                    <a:lnTo>
                      <a:pt x="448" y="103"/>
                    </a:lnTo>
                    <a:lnTo>
                      <a:pt x="450" y="103"/>
                    </a:lnTo>
                    <a:lnTo>
                      <a:pt x="450" y="103"/>
                    </a:lnTo>
                    <a:lnTo>
                      <a:pt x="452" y="101"/>
                    </a:lnTo>
                    <a:lnTo>
                      <a:pt x="452" y="97"/>
                    </a:lnTo>
                    <a:lnTo>
                      <a:pt x="452" y="95"/>
                    </a:lnTo>
                    <a:lnTo>
                      <a:pt x="452" y="95"/>
                    </a:lnTo>
                    <a:lnTo>
                      <a:pt x="454" y="91"/>
                    </a:lnTo>
                    <a:lnTo>
                      <a:pt x="458" y="87"/>
                    </a:lnTo>
                    <a:lnTo>
                      <a:pt x="458" y="87"/>
                    </a:lnTo>
                    <a:lnTo>
                      <a:pt x="460" y="87"/>
                    </a:lnTo>
                    <a:lnTo>
                      <a:pt x="460" y="87"/>
                    </a:lnTo>
                    <a:lnTo>
                      <a:pt x="460" y="79"/>
                    </a:lnTo>
                    <a:lnTo>
                      <a:pt x="460" y="71"/>
                    </a:lnTo>
                    <a:lnTo>
                      <a:pt x="460" y="69"/>
                    </a:lnTo>
                    <a:lnTo>
                      <a:pt x="460" y="63"/>
                    </a:lnTo>
                    <a:lnTo>
                      <a:pt x="479" y="63"/>
                    </a:lnTo>
                    <a:lnTo>
                      <a:pt x="479" y="63"/>
                    </a:lnTo>
                    <a:lnTo>
                      <a:pt x="483" y="63"/>
                    </a:lnTo>
                    <a:lnTo>
                      <a:pt x="483" y="63"/>
                    </a:lnTo>
                    <a:lnTo>
                      <a:pt x="485" y="63"/>
                    </a:lnTo>
                    <a:lnTo>
                      <a:pt x="485" y="63"/>
                    </a:lnTo>
                    <a:lnTo>
                      <a:pt x="491" y="63"/>
                    </a:lnTo>
                    <a:lnTo>
                      <a:pt x="491" y="63"/>
                    </a:lnTo>
                    <a:lnTo>
                      <a:pt x="495" y="59"/>
                    </a:lnTo>
                    <a:lnTo>
                      <a:pt x="499" y="53"/>
                    </a:lnTo>
                    <a:lnTo>
                      <a:pt x="499" y="53"/>
                    </a:lnTo>
                    <a:lnTo>
                      <a:pt x="503" y="49"/>
                    </a:lnTo>
                    <a:lnTo>
                      <a:pt x="507" y="47"/>
                    </a:lnTo>
                    <a:lnTo>
                      <a:pt x="541" y="47"/>
                    </a:lnTo>
                    <a:lnTo>
                      <a:pt x="541" y="47"/>
                    </a:lnTo>
                    <a:lnTo>
                      <a:pt x="543" y="47"/>
                    </a:lnTo>
                    <a:lnTo>
                      <a:pt x="543" y="47"/>
                    </a:lnTo>
                    <a:lnTo>
                      <a:pt x="545" y="47"/>
                    </a:lnTo>
                    <a:lnTo>
                      <a:pt x="545" y="47"/>
                    </a:lnTo>
                    <a:lnTo>
                      <a:pt x="549" y="49"/>
                    </a:lnTo>
                    <a:lnTo>
                      <a:pt x="551" y="51"/>
                    </a:lnTo>
                    <a:lnTo>
                      <a:pt x="551" y="55"/>
                    </a:lnTo>
                    <a:lnTo>
                      <a:pt x="551" y="67"/>
                    </a:lnTo>
                    <a:lnTo>
                      <a:pt x="545" y="65"/>
                    </a:lnTo>
                    <a:lnTo>
                      <a:pt x="545" y="65"/>
                    </a:lnTo>
                    <a:lnTo>
                      <a:pt x="543" y="65"/>
                    </a:lnTo>
                    <a:lnTo>
                      <a:pt x="543" y="65"/>
                    </a:lnTo>
                    <a:lnTo>
                      <a:pt x="543" y="65"/>
                    </a:lnTo>
                    <a:lnTo>
                      <a:pt x="543" y="69"/>
                    </a:lnTo>
                    <a:lnTo>
                      <a:pt x="543" y="69"/>
                    </a:lnTo>
                    <a:lnTo>
                      <a:pt x="547" y="69"/>
                    </a:lnTo>
                    <a:lnTo>
                      <a:pt x="547" y="69"/>
                    </a:lnTo>
                    <a:lnTo>
                      <a:pt x="549" y="71"/>
                    </a:lnTo>
                    <a:lnTo>
                      <a:pt x="549" y="71"/>
                    </a:lnTo>
                    <a:lnTo>
                      <a:pt x="555" y="71"/>
                    </a:lnTo>
                    <a:lnTo>
                      <a:pt x="555" y="71"/>
                    </a:lnTo>
                    <a:lnTo>
                      <a:pt x="557" y="71"/>
                    </a:lnTo>
                    <a:lnTo>
                      <a:pt x="557" y="71"/>
                    </a:lnTo>
                    <a:lnTo>
                      <a:pt x="561" y="69"/>
                    </a:lnTo>
                    <a:lnTo>
                      <a:pt x="561" y="69"/>
                    </a:lnTo>
                    <a:lnTo>
                      <a:pt x="563" y="65"/>
                    </a:lnTo>
                    <a:lnTo>
                      <a:pt x="569" y="63"/>
                    </a:lnTo>
                    <a:lnTo>
                      <a:pt x="575" y="61"/>
                    </a:lnTo>
                    <a:lnTo>
                      <a:pt x="575" y="91"/>
                    </a:lnTo>
                    <a:lnTo>
                      <a:pt x="575" y="91"/>
                    </a:lnTo>
                    <a:lnTo>
                      <a:pt x="577" y="95"/>
                    </a:lnTo>
                    <a:lnTo>
                      <a:pt x="579" y="99"/>
                    </a:lnTo>
                    <a:lnTo>
                      <a:pt x="579" y="101"/>
                    </a:lnTo>
                    <a:lnTo>
                      <a:pt x="579" y="101"/>
                    </a:lnTo>
                    <a:lnTo>
                      <a:pt x="583" y="107"/>
                    </a:lnTo>
                    <a:lnTo>
                      <a:pt x="585" y="115"/>
                    </a:lnTo>
                    <a:lnTo>
                      <a:pt x="585" y="115"/>
                    </a:lnTo>
                    <a:lnTo>
                      <a:pt x="583" y="125"/>
                    </a:lnTo>
                    <a:lnTo>
                      <a:pt x="583" y="125"/>
                    </a:lnTo>
                    <a:lnTo>
                      <a:pt x="581" y="129"/>
                    </a:lnTo>
                    <a:lnTo>
                      <a:pt x="579" y="131"/>
                    </a:lnTo>
                    <a:lnTo>
                      <a:pt x="575" y="131"/>
                    </a:lnTo>
                    <a:lnTo>
                      <a:pt x="575" y="131"/>
                    </a:lnTo>
                    <a:lnTo>
                      <a:pt x="571" y="131"/>
                    </a:lnTo>
                    <a:lnTo>
                      <a:pt x="571" y="131"/>
                    </a:lnTo>
                    <a:lnTo>
                      <a:pt x="571" y="131"/>
                    </a:lnTo>
                    <a:lnTo>
                      <a:pt x="571" y="131"/>
                    </a:lnTo>
                    <a:lnTo>
                      <a:pt x="569" y="131"/>
                    </a:lnTo>
                    <a:lnTo>
                      <a:pt x="569" y="131"/>
                    </a:lnTo>
                    <a:lnTo>
                      <a:pt x="561" y="131"/>
                    </a:lnTo>
                    <a:lnTo>
                      <a:pt x="561" y="131"/>
                    </a:lnTo>
                    <a:lnTo>
                      <a:pt x="553" y="129"/>
                    </a:lnTo>
                    <a:lnTo>
                      <a:pt x="553" y="129"/>
                    </a:lnTo>
                    <a:lnTo>
                      <a:pt x="545" y="131"/>
                    </a:lnTo>
                    <a:lnTo>
                      <a:pt x="545" y="131"/>
                    </a:lnTo>
                    <a:lnTo>
                      <a:pt x="543" y="133"/>
                    </a:lnTo>
                    <a:lnTo>
                      <a:pt x="543" y="133"/>
                    </a:lnTo>
                    <a:lnTo>
                      <a:pt x="543" y="133"/>
                    </a:lnTo>
                    <a:lnTo>
                      <a:pt x="543" y="133"/>
                    </a:lnTo>
                    <a:lnTo>
                      <a:pt x="541" y="137"/>
                    </a:lnTo>
                    <a:lnTo>
                      <a:pt x="537" y="139"/>
                    </a:lnTo>
                    <a:lnTo>
                      <a:pt x="537" y="139"/>
                    </a:lnTo>
                    <a:lnTo>
                      <a:pt x="535" y="139"/>
                    </a:lnTo>
                    <a:lnTo>
                      <a:pt x="535" y="139"/>
                    </a:lnTo>
                    <a:lnTo>
                      <a:pt x="535" y="141"/>
                    </a:lnTo>
                    <a:lnTo>
                      <a:pt x="537" y="149"/>
                    </a:lnTo>
                    <a:lnTo>
                      <a:pt x="529" y="147"/>
                    </a:lnTo>
                    <a:lnTo>
                      <a:pt x="529" y="147"/>
                    </a:lnTo>
                    <a:lnTo>
                      <a:pt x="527" y="147"/>
                    </a:lnTo>
                    <a:lnTo>
                      <a:pt x="527" y="147"/>
                    </a:lnTo>
                    <a:lnTo>
                      <a:pt x="527" y="151"/>
                    </a:lnTo>
                    <a:lnTo>
                      <a:pt x="527" y="155"/>
                    </a:lnTo>
                    <a:lnTo>
                      <a:pt x="465" y="155"/>
                    </a:lnTo>
                    <a:lnTo>
                      <a:pt x="465" y="155"/>
                    </a:lnTo>
                    <a:lnTo>
                      <a:pt x="461" y="155"/>
                    </a:lnTo>
                    <a:lnTo>
                      <a:pt x="461" y="155"/>
                    </a:lnTo>
                    <a:lnTo>
                      <a:pt x="458" y="155"/>
                    </a:lnTo>
                    <a:lnTo>
                      <a:pt x="458" y="155"/>
                    </a:lnTo>
                    <a:lnTo>
                      <a:pt x="456" y="155"/>
                    </a:lnTo>
                    <a:lnTo>
                      <a:pt x="456" y="155"/>
                    </a:lnTo>
                    <a:lnTo>
                      <a:pt x="454" y="163"/>
                    </a:lnTo>
                    <a:lnTo>
                      <a:pt x="450" y="163"/>
                    </a:lnTo>
                    <a:lnTo>
                      <a:pt x="450" y="163"/>
                    </a:lnTo>
                    <a:lnTo>
                      <a:pt x="446" y="163"/>
                    </a:lnTo>
                    <a:lnTo>
                      <a:pt x="446" y="163"/>
                    </a:lnTo>
                    <a:lnTo>
                      <a:pt x="440" y="163"/>
                    </a:lnTo>
                    <a:lnTo>
                      <a:pt x="440" y="163"/>
                    </a:lnTo>
                    <a:lnTo>
                      <a:pt x="438" y="163"/>
                    </a:lnTo>
                    <a:lnTo>
                      <a:pt x="438" y="163"/>
                    </a:lnTo>
                    <a:lnTo>
                      <a:pt x="438" y="170"/>
                    </a:lnTo>
                    <a:lnTo>
                      <a:pt x="434" y="170"/>
                    </a:lnTo>
                    <a:lnTo>
                      <a:pt x="434" y="170"/>
                    </a:lnTo>
                    <a:lnTo>
                      <a:pt x="430" y="170"/>
                    </a:lnTo>
                    <a:lnTo>
                      <a:pt x="430" y="170"/>
                    </a:lnTo>
                    <a:lnTo>
                      <a:pt x="430" y="172"/>
                    </a:lnTo>
                    <a:lnTo>
                      <a:pt x="430" y="172"/>
                    </a:lnTo>
                    <a:lnTo>
                      <a:pt x="434" y="174"/>
                    </a:lnTo>
                    <a:lnTo>
                      <a:pt x="434" y="174"/>
                    </a:lnTo>
                    <a:lnTo>
                      <a:pt x="438" y="176"/>
                    </a:lnTo>
                    <a:lnTo>
                      <a:pt x="438" y="176"/>
                    </a:lnTo>
                    <a:lnTo>
                      <a:pt x="444" y="174"/>
                    </a:lnTo>
                    <a:lnTo>
                      <a:pt x="444" y="174"/>
                    </a:lnTo>
                    <a:lnTo>
                      <a:pt x="444" y="174"/>
                    </a:lnTo>
                    <a:lnTo>
                      <a:pt x="444" y="174"/>
                    </a:lnTo>
                    <a:lnTo>
                      <a:pt x="446" y="170"/>
                    </a:lnTo>
                    <a:lnTo>
                      <a:pt x="452" y="168"/>
                    </a:lnTo>
                    <a:lnTo>
                      <a:pt x="469" y="168"/>
                    </a:lnTo>
                    <a:lnTo>
                      <a:pt x="471" y="172"/>
                    </a:lnTo>
                    <a:lnTo>
                      <a:pt x="471" y="172"/>
                    </a:lnTo>
                    <a:lnTo>
                      <a:pt x="469" y="180"/>
                    </a:lnTo>
                    <a:lnTo>
                      <a:pt x="465" y="186"/>
                    </a:lnTo>
                    <a:lnTo>
                      <a:pt x="465" y="186"/>
                    </a:lnTo>
                    <a:lnTo>
                      <a:pt x="463" y="190"/>
                    </a:lnTo>
                    <a:lnTo>
                      <a:pt x="463" y="190"/>
                    </a:lnTo>
                    <a:lnTo>
                      <a:pt x="460" y="192"/>
                    </a:lnTo>
                    <a:lnTo>
                      <a:pt x="456" y="194"/>
                    </a:lnTo>
                    <a:lnTo>
                      <a:pt x="454" y="194"/>
                    </a:lnTo>
                    <a:lnTo>
                      <a:pt x="444" y="194"/>
                    </a:lnTo>
                    <a:lnTo>
                      <a:pt x="444" y="194"/>
                    </a:lnTo>
                    <a:lnTo>
                      <a:pt x="440" y="194"/>
                    </a:lnTo>
                    <a:lnTo>
                      <a:pt x="440" y="194"/>
                    </a:lnTo>
                    <a:lnTo>
                      <a:pt x="440" y="194"/>
                    </a:lnTo>
                    <a:lnTo>
                      <a:pt x="440" y="194"/>
                    </a:lnTo>
                    <a:lnTo>
                      <a:pt x="440" y="194"/>
                    </a:lnTo>
                    <a:lnTo>
                      <a:pt x="438" y="196"/>
                    </a:lnTo>
                    <a:lnTo>
                      <a:pt x="438" y="196"/>
                    </a:lnTo>
                    <a:lnTo>
                      <a:pt x="436" y="200"/>
                    </a:lnTo>
                    <a:lnTo>
                      <a:pt x="434" y="202"/>
                    </a:lnTo>
                    <a:lnTo>
                      <a:pt x="430" y="202"/>
                    </a:lnTo>
                    <a:lnTo>
                      <a:pt x="430" y="202"/>
                    </a:lnTo>
                    <a:lnTo>
                      <a:pt x="426" y="202"/>
                    </a:lnTo>
                    <a:lnTo>
                      <a:pt x="426" y="202"/>
                    </a:lnTo>
                    <a:lnTo>
                      <a:pt x="422" y="202"/>
                    </a:lnTo>
                    <a:lnTo>
                      <a:pt x="422" y="202"/>
                    </a:lnTo>
                    <a:lnTo>
                      <a:pt x="422" y="202"/>
                    </a:lnTo>
                    <a:lnTo>
                      <a:pt x="422" y="202"/>
                    </a:lnTo>
                    <a:lnTo>
                      <a:pt x="422" y="210"/>
                    </a:lnTo>
                    <a:lnTo>
                      <a:pt x="418" y="210"/>
                    </a:lnTo>
                    <a:lnTo>
                      <a:pt x="418" y="210"/>
                    </a:lnTo>
                    <a:lnTo>
                      <a:pt x="412" y="210"/>
                    </a:lnTo>
                    <a:lnTo>
                      <a:pt x="412" y="210"/>
                    </a:lnTo>
                    <a:lnTo>
                      <a:pt x="408" y="210"/>
                    </a:lnTo>
                    <a:lnTo>
                      <a:pt x="408" y="210"/>
                    </a:lnTo>
                    <a:lnTo>
                      <a:pt x="406" y="210"/>
                    </a:lnTo>
                    <a:lnTo>
                      <a:pt x="406" y="210"/>
                    </a:lnTo>
                    <a:lnTo>
                      <a:pt x="406" y="220"/>
                    </a:lnTo>
                    <a:lnTo>
                      <a:pt x="400" y="218"/>
                    </a:lnTo>
                    <a:lnTo>
                      <a:pt x="400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398" y="218"/>
                    </a:lnTo>
                    <a:lnTo>
                      <a:pt x="398" y="222"/>
                    </a:lnTo>
                    <a:lnTo>
                      <a:pt x="398" y="226"/>
                    </a:lnTo>
                    <a:lnTo>
                      <a:pt x="392" y="226"/>
                    </a:lnTo>
                    <a:lnTo>
                      <a:pt x="392" y="226"/>
                    </a:lnTo>
                    <a:lnTo>
                      <a:pt x="392" y="228"/>
                    </a:lnTo>
                    <a:lnTo>
                      <a:pt x="392" y="230"/>
                    </a:lnTo>
                    <a:lnTo>
                      <a:pt x="392" y="230"/>
                    </a:lnTo>
                    <a:lnTo>
                      <a:pt x="390" y="234"/>
                    </a:lnTo>
                    <a:lnTo>
                      <a:pt x="390" y="234"/>
                    </a:lnTo>
                    <a:lnTo>
                      <a:pt x="390" y="240"/>
                    </a:lnTo>
                    <a:lnTo>
                      <a:pt x="388" y="246"/>
                    </a:lnTo>
                    <a:lnTo>
                      <a:pt x="388" y="246"/>
                    </a:lnTo>
                    <a:lnTo>
                      <a:pt x="384" y="250"/>
                    </a:lnTo>
                    <a:lnTo>
                      <a:pt x="384" y="250"/>
                    </a:lnTo>
                    <a:lnTo>
                      <a:pt x="382" y="252"/>
                    </a:lnTo>
                    <a:lnTo>
                      <a:pt x="382" y="252"/>
                    </a:lnTo>
                    <a:lnTo>
                      <a:pt x="382" y="254"/>
                    </a:lnTo>
                    <a:lnTo>
                      <a:pt x="382" y="254"/>
                    </a:lnTo>
                    <a:lnTo>
                      <a:pt x="380" y="258"/>
                    </a:lnTo>
                    <a:lnTo>
                      <a:pt x="378" y="258"/>
                    </a:lnTo>
                    <a:lnTo>
                      <a:pt x="374" y="260"/>
                    </a:lnTo>
                    <a:lnTo>
                      <a:pt x="362" y="260"/>
                    </a:lnTo>
                    <a:lnTo>
                      <a:pt x="362" y="260"/>
                    </a:lnTo>
                    <a:lnTo>
                      <a:pt x="360" y="260"/>
                    </a:lnTo>
                    <a:lnTo>
                      <a:pt x="360" y="260"/>
                    </a:lnTo>
                    <a:lnTo>
                      <a:pt x="358" y="260"/>
                    </a:lnTo>
                    <a:lnTo>
                      <a:pt x="358" y="260"/>
                    </a:lnTo>
                    <a:lnTo>
                      <a:pt x="358" y="260"/>
                    </a:lnTo>
                    <a:lnTo>
                      <a:pt x="358" y="260"/>
                    </a:lnTo>
                    <a:lnTo>
                      <a:pt x="358" y="262"/>
                    </a:lnTo>
                    <a:lnTo>
                      <a:pt x="358" y="262"/>
                    </a:lnTo>
                    <a:lnTo>
                      <a:pt x="356" y="266"/>
                    </a:lnTo>
                    <a:lnTo>
                      <a:pt x="354" y="266"/>
                    </a:lnTo>
                    <a:lnTo>
                      <a:pt x="348" y="268"/>
                    </a:lnTo>
                    <a:lnTo>
                      <a:pt x="348" y="268"/>
                    </a:lnTo>
                    <a:lnTo>
                      <a:pt x="346" y="268"/>
                    </a:lnTo>
                    <a:lnTo>
                      <a:pt x="346" y="268"/>
                    </a:lnTo>
                    <a:lnTo>
                      <a:pt x="346" y="268"/>
                    </a:lnTo>
                    <a:lnTo>
                      <a:pt x="346" y="268"/>
                    </a:lnTo>
                    <a:lnTo>
                      <a:pt x="332" y="276"/>
                    </a:lnTo>
                    <a:lnTo>
                      <a:pt x="322" y="290"/>
                    </a:lnTo>
                    <a:lnTo>
                      <a:pt x="322" y="290"/>
                    </a:lnTo>
                    <a:lnTo>
                      <a:pt x="316" y="296"/>
                    </a:lnTo>
                    <a:lnTo>
                      <a:pt x="316" y="306"/>
                    </a:lnTo>
                    <a:lnTo>
                      <a:pt x="316" y="306"/>
                    </a:lnTo>
                    <a:lnTo>
                      <a:pt x="318" y="308"/>
                    </a:lnTo>
                    <a:lnTo>
                      <a:pt x="318" y="308"/>
                    </a:lnTo>
                    <a:lnTo>
                      <a:pt x="316" y="312"/>
                    </a:lnTo>
                    <a:lnTo>
                      <a:pt x="316" y="314"/>
                    </a:lnTo>
                    <a:lnTo>
                      <a:pt x="312" y="316"/>
                    </a:lnTo>
                    <a:lnTo>
                      <a:pt x="312" y="316"/>
                    </a:lnTo>
                    <a:lnTo>
                      <a:pt x="308" y="317"/>
                    </a:lnTo>
                    <a:lnTo>
                      <a:pt x="308" y="317"/>
                    </a:lnTo>
                    <a:lnTo>
                      <a:pt x="306" y="319"/>
                    </a:lnTo>
                    <a:lnTo>
                      <a:pt x="306" y="319"/>
                    </a:lnTo>
                    <a:lnTo>
                      <a:pt x="303" y="325"/>
                    </a:lnTo>
                    <a:lnTo>
                      <a:pt x="303" y="327"/>
                    </a:lnTo>
                    <a:lnTo>
                      <a:pt x="303" y="327"/>
                    </a:lnTo>
                    <a:lnTo>
                      <a:pt x="299" y="331"/>
                    </a:lnTo>
                    <a:lnTo>
                      <a:pt x="295" y="331"/>
                    </a:lnTo>
                    <a:lnTo>
                      <a:pt x="289" y="331"/>
                    </a:lnTo>
                    <a:lnTo>
                      <a:pt x="289" y="331"/>
                    </a:lnTo>
                    <a:lnTo>
                      <a:pt x="279" y="339"/>
                    </a:lnTo>
                    <a:lnTo>
                      <a:pt x="279" y="339"/>
                    </a:lnTo>
                    <a:lnTo>
                      <a:pt x="273" y="345"/>
                    </a:lnTo>
                    <a:lnTo>
                      <a:pt x="269" y="351"/>
                    </a:lnTo>
                    <a:lnTo>
                      <a:pt x="269" y="351"/>
                    </a:lnTo>
                    <a:lnTo>
                      <a:pt x="265" y="355"/>
                    </a:lnTo>
                    <a:lnTo>
                      <a:pt x="259" y="355"/>
                    </a:lnTo>
                    <a:lnTo>
                      <a:pt x="259" y="355"/>
                    </a:lnTo>
                    <a:lnTo>
                      <a:pt x="255" y="355"/>
                    </a:lnTo>
                    <a:lnTo>
                      <a:pt x="255" y="355"/>
                    </a:lnTo>
                    <a:lnTo>
                      <a:pt x="253" y="355"/>
                    </a:lnTo>
                    <a:lnTo>
                      <a:pt x="245" y="355"/>
                    </a:lnTo>
                    <a:lnTo>
                      <a:pt x="245" y="355"/>
                    </a:lnTo>
                    <a:lnTo>
                      <a:pt x="245" y="355"/>
                    </a:lnTo>
                    <a:lnTo>
                      <a:pt x="245" y="355"/>
                    </a:lnTo>
                    <a:lnTo>
                      <a:pt x="245" y="359"/>
                    </a:lnTo>
                    <a:lnTo>
                      <a:pt x="245" y="359"/>
                    </a:lnTo>
                    <a:lnTo>
                      <a:pt x="249" y="361"/>
                    </a:lnTo>
                    <a:lnTo>
                      <a:pt x="249" y="361"/>
                    </a:lnTo>
                    <a:lnTo>
                      <a:pt x="251" y="363"/>
                    </a:lnTo>
                    <a:lnTo>
                      <a:pt x="253" y="367"/>
                    </a:lnTo>
                    <a:lnTo>
                      <a:pt x="253" y="373"/>
                    </a:lnTo>
                    <a:lnTo>
                      <a:pt x="253" y="373"/>
                    </a:lnTo>
                    <a:lnTo>
                      <a:pt x="253" y="375"/>
                    </a:lnTo>
                    <a:lnTo>
                      <a:pt x="253" y="381"/>
                    </a:lnTo>
                    <a:lnTo>
                      <a:pt x="247" y="379"/>
                    </a:lnTo>
                    <a:lnTo>
                      <a:pt x="247" y="379"/>
                    </a:lnTo>
                    <a:lnTo>
                      <a:pt x="243" y="379"/>
                    </a:lnTo>
                    <a:lnTo>
                      <a:pt x="243" y="379"/>
                    </a:lnTo>
                    <a:lnTo>
                      <a:pt x="239" y="381"/>
                    </a:lnTo>
                    <a:lnTo>
                      <a:pt x="239" y="381"/>
                    </a:lnTo>
                    <a:lnTo>
                      <a:pt x="237" y="383"/>
                    </a:lnTo>
                    <a:lnTo>
                      <a:pt x="237" y="383"/>
                    </a:lnTo>
                    <a:lnTo>
                      <a:pt x="235" y="387"/>
                    </a:lnTo>
                    <a:lnTo>
                      <a:pt x="229" y="389"/>
                    </a:lnTo>
                    <a:lnTo>
                      <a:pt x="229" y="389"/>
                    </a:lnTo>
                    <a:lnTo>
                      <a:pt x="225" y="389"/>
                    </a:lnTo>
                    <a:lnTo>
                      <a:pt x="225" y="389"/>
                    </a:lnTo>
                    <a:lnTo>
                      <a:pt x="223" y="389"/>
                    </a:lnTo>
                    <a:lnTo>
                      <a:pt x="223" y="389"/>
                    </a:lnTo>
                    <a:lnTo>
                      <a:pt x="223" y="387"/>
                    </a:lnTo>
                    <a:lnTo>
                      <a:pt x="223" y="387"/>
                    </a:lnTo>
                    <a:lnTo>
                      <a:pt x="221" y="387"/>
                    </a:lnTo>
                    <a:lnTo>
                      <a:pt x="221" y="387"/>
                    </a:lnTo>
                    <a:lnTo>
                      <a:pt x="221" y="393"/>
                    </a:lnTo>
                    <a:lnTo>
                      <a:pt x="221" y="403"/>
                    </a:lnTo>
                    <a:lnTo>
                      <a:pt x="221" y="403"/>
                    </a:lnTo>
                    <a:lnTo>
                      <a:pt x="221" y="407"/>
                    </a:lnTo>
                    <a:lnTo>
                      <a:pt x="221" y="413"/>
                    </a:lnTo>
                    <a:lnTo>
                      <a:pt x="215" y="413"/>
                    </a:lnTo>
                    <a:lnTo>
                      <a:pt x="215" y="413"/>
                    </a:lnTo>
                    <a:lnTo>
                      <a:pt x="213" y="413"/>
                    </a:lnTo>
                    <a:lnTo>
                      <a:pt x="213" y="413"/>
                    </a:lnTo>
                    <a:lnTo>
                      <a:pt x="213" y="417"/>
                    </a:lnTo>
                    <a:lnTo>
                      <a:pt x="213" y="421"/>
                    </a:lnTo>
                    <a:lnTo>
                      <a:pt x="213" y="421"/>
                    </a:lnTo>
                    <a:lnTo>
                      <a:pt x="213" y="423"/>
                    </a:lnTo>
                    <a:lnTo>
                      <a:pt x="213" y="429"/>
                    </a:lnTo>
                    <a:lnTo>
                      <a:pt x="207" y="429"/>
                    </a:lnTo>
                    <a:lnTo>
                      <a:pt x="207" y="429"/>
                    </a:lnTo>
                    <a:lnTo>
                      <a:pt x="205" y="429"/>
                    </a:lnTo>
                    <a:lnTo>
                      <a:pt x="205" y="429"/>
                    </a:lnTo>
                    <a:lnTo>
                      <a:pt x="205" y="439"/>
                    </a:lnTo>
                    <a:lnTo>
                      <a:pt x="205" y="439"/>
                    </a:lnTo>
                    <a:lnTo>
                      <a:pt x="203" y="445"/>
                    </a:lnTo>
                    <a:lnTo>
                      <a:pt x="203" y="453"/>
                    </a:lnTo>
                    <a:lnTo>
                      <a:pt x="199" y="457"/>
                    </a:lnTo>
                    <a:lnTo>
                      <a:pt x="195" y="459"/>
                    </a:lnTo>
                    <a:lnTo>
                      <a:pt x="191" y="461"/>
                    </a:lnTo>
                    <a:lnTo>
                      <a:pt x="185" y="463"/>
                    </a:lnTo>
                    <a:lnTo>
                      <a:pt x="185" y="455"/>
                    </a:lnTo>
                    <a:lnTo>
                      <a:pt x="185" y="455"/>
                    </a:lnTo>
                    <a:lnTo>
                      <a:pt x="185" y="453"/>
                    </a:lnTo>
                    <a:lnTo>
                      <a:pt x="185" y="453"/>
                    </a:lnTo>
                    <a:lnTo>
                      <a:pt x="185" y="453"/>
                    </a:lnTo>
                    <a:lnTo>
                      <a:pt x="185" y="453"/>
                    </a:lnTo>
                    <a:lnTo>
                      <a:pt x="183" y="453"/>
                    </a:lnTo>
                    <a:lnTo>
                      <a:pt x="183" y="453"/>
                    </a:lnTo>
                    <a:lnTo>
                      <a:pt x="179" y="451"/>
                    </a:lnTo>
                    <a:lnTo>
                      <a:pt x="177" y="445"/>
                    </a:lnTo>
                    <a:lnTo>
                      <a:pt x="177" y="435"/>
                    </a:lnTo>
                    <a:lnTo>
                      <a:pt x="181" y="435"/>
                    </a:lnTo>
                    <a:lnTo>
                      <a:pt x="181" y="435"/>
                    </a:lnTo>
                    <a:lnTo>
                      <a:pt x="185" y="431"/>
                    </a:lnTo>
                    <a:lnTo>
                      <a:pt x="185" y="431"/>
                    </a:lnTo>
                    <a:lnTo>
                      <a:pt x="187" y="423"/>
                    </a:lnTo>
                    <a:lnTo>
                      <a:pt x="187" y="411"/>
                    </a:lnTo>
                    <a:lnTo>
                      <a:pt x="187" y="411"/>
                    </a:lnTo>
                    <a:lnTo>
                      <a:pt x="183" y="403"/>
                    </a:lnTo>
                    <a:lnTo>
                      <a:pt x="179" y="397"/>
                    </a:lnTo>
                    <a:lnTo>
                      <a:pt x="179" y="397"/>
                    </a:lnTo>
                    <a:lnTo>
                      <a:pt x="175" y="395"/>
                    </a:lnTo>
                    <a:lnTo>
                      <a:pt x="175" y="395"/>
                    </a:lnTo>
                    <a:lnTo>
                      <a:pt x="173" y="397"/>
                    </a:lnTo>
                    <a:lnTo>
                      <a:pt x="173" y="397"/>
                    </a:lnTo>
                    <a:lnTo>
                      <a:pt x="169" y="397"/>
                    </a:lnTo>
                    <a:lnTo>
                      <a:pt x="169" y="397"/>
                    </a:lnTo>
                    <a:lnTo>
                      <a:pt x="161" y="399"/>
                    </a:lnTo>
                    <a:lnTo>
                      <a:pt x="157" y="401"/>
                    </a:lnTo>
                    <a:lnTo>
                      <a:pt x="157" y="401"/>
                    </a:lnTo>
                    <a:lnTo>
                      <a:pt x="153" y="403"/>
                    </a:lnTo>
                    <a:lnTo>
                      <a:pt x="153" y="403"/>
                    </a:lnTo>
                    <a:lnTo>
                      <a:pt x="146" y="409"/>
                    </a:lnTo>
                    <a:lnTo>
                      <a:pt x="142" y="409"/>
                    </a:lnTo>
                    <a:lnTo>
                      <a:pt x="138" y="411"/>
                    </a:lnTo>
                    <a:lnTo>
                      <a:pt x="138" y="411"/>
                    </a:lnTo>
                    <a:lnTo>
                      <a:pt x="134" y="409"/>
                    </a:lnTo>
                    <a:lnTo>
                      <a:pt x="134" y="409"/>
                    </a:lnTo>
                    <a:lnTo>
                      <a:pt x="124" y="407"/>
                    </a:lnTo>
                    <a:lnTo>
                      <a:pt x="124" y="407"/>
                    </a:lnTo>
                    <a:lnTo>
                      <a:pt x="120" y="405"/>
                    </a:lnTo>
                    <a:lnTo>
                      <a:pt x="120" y="405"/>
                    </a:lnTo>
                    <a:lnTo>
                      <a:pt x="116" y="403"/>
                    </a:lnTo>
                    <a:lnTo>
                      <a:pt x="116" y="403"/>
                    </a:lnTo>
                    <a:lnTo>
                      <a:pt x="116" y="407"/>
                    </a:lnTo>
                    <a:lnTo>
                      <a:pt x="116" y="407"/>
                    </a:lnTo>
                    <a:lnTo>
                      <a:pt x="116" y="411"/>
                    </a:lnTo>
                    <a:lnTo>
                      <a:pt x="116" y="411"/>
                    </a:lnTo>
                    <a:lnTo>
                      <a:pt x="114" y="417"/>
                    </a:lnTo>
                    <a:lnTo>
                      <a:pt x="110" y="421"/>
                    </a:lnTo>
                    <a:lnTo>
                      <a:pt x="102" y="427"/>
                    </a:lnTo>
                    <a:lnTo>
                      <a:pt x="102" y="427"/>
                    </a:lnTo>
                    <a:lnTo>
                      <a:pt x="96" y="433"/>
                    </a:lnTo>
                    <a:lnTo>
                      <a:pt x="96" y="433"/>
                    </a:lnTo>
                    <a:lnTo>
                      <a:pt x="92" y="439"/>
                    </a:lnTo>
                    <a:lnTo>
                      <a:pt x="92" y="439"/>
                    </a:lnTo>
                    <a:lnTo>
                      <a:pt x="90" y="443"/>
                    </a:lnTo>
                    <a:lnTo>
                      <a:pt x="86" y="445"/>
                    </a:lnTo>
                    <a:lnTo>
                      <a:pt x="86" y="445"/>
                    </a:lnTo>
                    <a:lnTo>
                      <a:pt x="84" y="445"/>
                    </a:lnTo>
                    <a:lnTo>
                      <a:pt x="84" y="445"/>
                    </a:lnTo>
                    <a:lnTo>
                      <a:pt x="84" y="445"/>
                    </a:lnTo>
                    <a:lnTo>
                      <a:pt x="84" y="453"/>
                    </a:lnTo>
                    <a:lnTo>
                      <a:pt x="84" y="453"/>
                    </a:lnTo>
                    <a:lnTo>
                      <a:pt x="84" y="455"/>
                    </a:lnTo>
                    <a:lnTo>
                      <a:pt x="84" y="463"/>
                    </a:lnTo>
                    <a:lnTo>
                      <a:pt x="78" y="461"/>
                    </a:lnTo>
                    <a:lnTo>
                      <a:pt x="78" y="461"/>
                    </a:lnTo>
                    <a:lnTo>
                      <a:pt x="76" y="461"/>
                    </a:lnTo>
                    <a:lnTo>
                      <a:pt x="76" y="461"/>
                    </a:lnTo>
                    <a:lnTo>
                      <a:pt x="76" y="465"/>
                    </a:lnTo>
                    <a:lnTo>
                      <a:pt x="76" y="468"/>
                    </a:lnTo>
                    <a:lnTo>
                      <a:pt x="76" y="468"/>
                    </a:lnTo>
                    <a:lnTo>
                      <a:pt x="76" y="470"/>
                    </a:lnTo>
                    <a:lnTo>
                      <a:pt x="76" y="478"/>
                    </a:lnTo>
                    <a:lnTo>
                      <a:pt x="70" y="476"/>
                    </a:lnTo>
                    <a:lnTo>
                      <a:pt x="70" y="476"/>
                    </a:lnTo>
                    <a:lnTo>
                      <a:pt x="68" y="476"/>
                    </a:lnTo>
                    <a:lnTo>
                      <a:pt x="68" y="476"/>
                    </a:lnTo>
                    <a:lnTo>
                      <a:pt x="68" y="480"/>
                    </a:lnTo>
                    <a:lnTo>
                      <a:pt x="68" y="490"/>
                    </a:lnTo>
                    <a:lnTo>
                      <a:pt x="68" y="490"/>
                    </a:lnTo>
                    <a:lnTo>
                      <a:pt x="68" y="496"/>
                    </a:lnTo>
                    <a:lnTo>
                      <a:pt x="68" y="502"/>
                    </a:lnTo>
                    <a:lnTo>
                      <a:pt x="62" y="500"/>
                    </a:lnTo>
                    <a:lnTo>
                      <a:pt x="62" y="500"/>
                    </a:lnTo>
                    <a:lnTo>
                      <a:pt x="60" y="500"/>
                    </a:lnTo>
                    <a:lnTo>
                      <a:pt x="60" y="500"/>
                    </a:lnTo>
                    <a:lnTo>
                      <a:pt x="60" y="504"/>
                    </a:lnTo>
                    <a:lnTo>
                      <a:pt x="60" y="508"/>
                    </a:lnTo>
                    <a:lnTo>
                      <a:pt x="60" y="508"/>
                    </a:lnTo>
                    <a:lnTo>
                      <a:pt x="60" y="512"/>
                    </a:lnTo>
                    <a:lnTo>
                      <a:pt x="60" y="518"/>
                    </a:lnTo>
                    <a:lnTo>
                      <a:pt x="54" y="516"/>
                    </a:lnTo>
                    <a:lnTo>
                      <a:pt x="54" y="516"/>
                    </a:lnTo>
                    <a:lnTo>
                      <a:pt x="52" y="516"/>
                    </a:lnTo>
                    <a:lnTo>
                      <a:pt x="52" y="516"/>
                    </a:lnTo>
                    <a:lnTo>
                      <a:pt x="52" y="516"/>
                    </a:lnTo>
                    <a:lnTo>
                      <a:pt x="52" y="520"/>
                    </a:lnTo>
                    <a:lnTo>
                      <a:pt x="50" y="526"/>
                    </a:lnTo>
                    <a:lnTo>
                      <a:pt x="44" y="524"/>
                    </a:lnTo>
                    <a:lnTo>
                      <a:pt x="44" y="524"/>
                    </a:lnTo>
                    <a:lnTo>
                      <a:pt x="44" y="524"/>
                    </a:lnTo>
                    <a:lnTo>
                      <a:pt x="44" y="524"/>
                    </a:lnTo>
                    <a:lnTo>
                      <a:pt x="44" y="524"/>
                    </a:lnTo>
                    <a:lnTo>
                      <a:pt x="44" y="530"/>
                    </a:lnTo>
                    <a:lnTo>
                      <a:pt x="44" y="530"/>
                    </a:lnTo>
                    <a:lnTo>
                      <a:pt x="44" y="534"/>
                    </a:lnTo>
                    <a:lnTo>
                      <a:pt x="44" y="534"/>
                    </a:lnTo>
                    <a:lnTo>
                      <a:pt x="44" y="538"/>
                    </a:lnTo>
                    <a:lnTo>
                      <a:pt x="44" y="538"/>
                    </a:lnTo>
                    <a:lnTo>
                      <a:pt x="44" y="538"/>
                    </a:lnTo>
                    <a:lnTo>
                      <a:pt x="44" y="538"/>
                    </a:lnTo>
                    <a:lnTo>
                      <a:pt x="44" y="538"/>
                    </a:lnTo>
                    <a:lnTo>
                      <a:pt x="44" y="538"/>
                    </a:lnTo>
                    <a:lnTo>
                      <a:pt x="50" y="540"/>
                    </a:lnTo>
                    <a:lnTo>
                      <a:pt x="52" y="546"/>
                    </a:lnTo>
                    <a:lnTo>
                      <a:pt x="52" y="552"/>
                    </a:lnTo>
                    <a:lnTo>
                      <a:pt x="52" y="552"/>
                    </a:lnTo>
                    <a:lnTo>
                      <a:pt x="52" y="554"/>
                    </a:lnTo>
                    <a:lnTo>
                      <a:pt x="52" y="554"/>
                    </a:lnTo>
                    <a:lnTo>
                      <a:pt x="52" y="560"/>
                    </a:lnTo>
                    <a:lnTo>
                      <a:pt x="52" y="560"/>
                    </a:lnTo>
                    <a:lnTo>
                      <a:pt x="58" y="556"/>
                    </a:lnTo>
                    <a:lnTo>
                      <a:pt x="64" y="550"/>
                    </a:lnTo>
                    <a:lnTo>
                      <a:pt x="64" y="550"/>
                    </a:lnTo>
                    <a:lnTo>
                      <a:pt x="66" y="546"/>
                    </a:lnTo>
                    <a:lnTo>
                      <a:pt x="68" y="546"/>
                    </a:lnTo>
                    <a:lnTo>
                      <a:pt x="68" y="546"/>
                    </a:lnTo>
                    <a:lnTo>
                      <a:pt x="76" y="540"/>
                    </a:lnTo>
                    <a:lnTo>
                      <a:pt x="78" y="538"/>
                    </a:lnTo>
                    <a:lnTo>
                      <a:pt x="80" y="538"/>
                    </a:lnTo>
                    <a:lnTo>
                      <a:pt x="80" y="538"/>
                    </a:lnTo>
                    <a:lnTo>
                      <a:pt x="80" y="538"/>
                    </a:lnTo>
                    <a:lnTo>
                      <a:pt x="80" y="538"/>
                    </a:lnTo>
                    <a:lnTo>
                      <a:pt x="80" y="538"/>
                    </a:lnTo>
                    <a:lnTo>
                      <a:pt x="82" y="536"/>
                    </a:lnTo>
                    <a:lnTo>
                      <a:pt x="82" y="530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88" y="530"/>
                    </a:lnTo>
                    <a:lnTo>
                      <a:pt x="90" y="528"/>
                    </a:lnTo>
                    <a:lnTo>
                      <a:pt x="90" y="528"/>
                    </a:lnTo>
                    <a:lnTo>
                      <a:pt x="90" y="524"/>
                    </a:lnTo>
                    <a:lnTo>
                      <a:pt x="92" y="520"/>
                    </a:lnTo>
                    <a:lnTo>
                      <a:pt x="96" y="516"/>
                    </a:lnTo>
                    <a:lnTo>
                      <a:pt x="102" y="514"/>
                    </a:lnTo>
                    <a:lnTo>
                      <a:pt x="102" y="514"/>
                    </a:lnTo>
                    <a:lnTo>
                      <a:pt x="110" y="514"/>
                    </a:lnTo>
                    <a:lnTo>
                      <a:pt x="110" y="514"/>
                    </a:lnTo>
                    <a:lnTo>
                      <a:pt x="118" y="514"/>
                    </a:lnTo>
                    <a:lnTo>
                      <a:pt x="124" y="514"/>
                    </a:lnTo>
                    <a:lnTo>
                      <a:pt x="124" y="520"/>
                    </a:lnTo>
                    <a:lnTo>
                      <a:pt x="124" y="520"/>
                    </a:lnTo>
                    <a:lnTo>
                      <a:pt x="124" y="524"/>
                    </a:lnTo>
                    <a:lnTo>
                      <a:pt x="124" y="524"/>
                    </a:lnTo>
                    <a:lnTo>
                      <a:pt x="124" y="538"/>
                    </a:lnTo>
                    <a:lnTo>
                      <a:pt x="124" y="538"/>
                    </a:lnTo>
                    <a:lnTo>
                      <a:pt x="122" y="548"/>
                    </a:lnTo>
                    <a:lnTo>
                      <a:pt x="118" y="554"/>
                    </a:lnTo>
                    <a:lnTo>
                      <a:pt x="112" y="558"/>
                    </a:lnTo>
                    <a:lnTo>
                      <a:pt x="108" y="558"/>
                    </a:lnTo>
                    <a:lnTo>
                      <a:pt x="108" y="558"/>
                    </a:lnTo>
                    <a:lnTo>
                      <a:pt x="104" y="558"/>
                    </a:lnTo>
                    <a:lnTo>
                      <a:pt x="104" y="558"/>
                    </a:lnTo>
                    <a:lnTo>
                      <a:pt x="102" y="558"/>
                    </a:lnTo>
                    <a:lnTo>
                      <a:pt x="102" y="558"/>
                    </a:lnTo>
                    <a:lnTo>
                      <a:pt x="100" y="558"/>
                    </a:lnTo>
                    <a:lnTo>
                      <a:pt x="100" y="558"/>
                    </a:lnTo>
                    <a:lnTo>
                      <a:pt x="100" y="558"/>
                    </a:lnTo>
                    <a:lnTo>
                      <a:pt x="100" y="558"/>
                    </a:lnTo>
                    <a:lnTo>
                      <a:pt x="100" y="570"/>
                    </a:lnTo>
                    <a:lnTo>
                      <a:pt x="100" y="570"/>
                    </a:lnTo>
                    <a:lnTo>
                      <a:pt x="100" y="576"/>
                    </a:lnTo>
                    <a:lnTo>
                      <a:pt x="100" y="582"/>
                    </a:lnTo>
                    <a:lnTo>
                      <a:pt x="94" y="582"/>
                    </a:lnTo>
                    <a:lnTo>
                      <a:pt x="94" y="582"/>
                    </a:lnTo>
                    <a:lnTo>
                      <a:pt x="92" y="582"/>
                    </a:lnTo>
                    <a:lnTo>
                      <a:pt x="92" y="582"/>
                    </a:lnTo>
                    <a:lnTo>
                      <a:pt x="92" y="586"/>
                    </a:lnTo>
                    <a:lnTo>
                      <a:pt x="92" y="590"/>
                    </a:lnTo>
                    <a:lnTo>
                      <a:pt x="92" y="590"/>
                    </a:lnTo>
                    <a:lnTo>
                      <a:pt x="92" y="592"/>
                    </a:lnTo>
                    <a:lnTo>
                      <a:pt x="92" y="592"/>
                    </a:lnTo>
                    <a:lnTo>
                      <a:pt x="94" y="594"/>
                    </a:lnTo>
                    <a:lnTo>
                      <a:pt x="100" y="596"/>
                    </a:lnTo>
                    <a:lnTo>
                      <a:pt x="100" y="596"/>
                    </a:lnTo>
                    <a:lnTo>
                      <a:pt x="102" y="596"/>
                    </a:lnTo>
                    <a:lnTo>
                      <a:pt x="102" y="596"/>
                    </a:lnTo>
                    <a:lnTo>
                      <a:pt x="108" y="596"/>
                    </a:lnTo>
                    <a:lnTo>
                      <a:pt x="110" y="596"/>
                    </a:lnTo>
                    <a:lnTo>
                      <a:pt x="110" y="596"/>
                    </a:lnTo>
                    <a:lnTo>
                      <a:pt x="110" y="596"/>
                    </a:lnTo>
                    <a:lnTo>
                      <a:pt x="110" y="596"/>
                    </a:lnTo>
                    <a:lnTo>
                      <a:pt x="116" y="596"/>
                    </a:lnTo>
                    <a:lnTo>
                      <a:pt x="116" y="596"/>
                    </a:lnTo>
                    <a:lnTo>
                      <a:pt x="120" y="596"/>
                    </a:lnTo>
                    <a:lnTo>
                      <a:pt x="122" y="598"/>
                    </a:lnTo>
                    <a:lnTo>
                      <a:pt x="124" y="602"/>
                    </a:lnTo>
                    <a:lnTo>
                      <a:pt x="124" y="602"/>
                    </a:lnTo>
                    <a:lnTo>
                      <a:pt x="124" y="612"/>
                    </a:lnTo>
                    <a:lnTo>
                      <a:pt x="124" y="612"/>
                    </a:lnTo>
                    <a:lnTo>
                      <a:pt x="126" y="621"/>
                    </a:lnTo>
                    <a:lnTo>
                      <a:pt x="126" y="621"/>
                    </a:lnTo>
                    <a:lnTo>
                      <a:pt x="126" y="625"/>
                    </a:lnTo>
                    <a:lnTo>
                      <a:pt x="128" y="627"/>
                    </a:lnTo>
                    <a:lnTo>
                      <a:pt x="132" y="627"/>
                    </a:lnTo>
                    <a:lnTo>
                      <a:pt x="132" y="631"/>
                    </a:lnTo>
                    <a:lnTo>
                      <a:pt x="132" y="631"/>
                    </a:lnTo>
                    <a:lnTo>
                      <a:pt x="134" y="637"/>
                    </a:lnTo>
                    <a:lnTo>
                      <a:pt x="132" y="643"/>
                    </a:lnTo>
                    <a:lnTo>
                      <a:pt x="130" y="647"/>
                    </a:lnTo>
                    <a:lnTo>
                      <a:pt x="130" y="647"/>
                    </a:lnTo>
                    <a:lnTo>
                      <a:pt x="128" y="651"/>
                    </a:lnTo>
                    <a:lnTo>
                      <a:pt x="124" y="653"/>
                    </a:lnTo>
                    <a:lnTo>
                      <a:pt x="116" y="657"/>
                    </a:lnTo>
                    <a:lnTo>
                      <a:pt x="116" y="657"/>
                    </a:lnTo>
                    <a:lnTo>
                      <a:pt x="110" y="659"/>
                    </a:lnTo>
                    <a:lnTo>
                      <a:pt x="110" y="659"/>
                    </a:lnTo>
                    <a:lnTo>
                      <a:pt x="108" y="659"/>
                    </a:lnTo>
                    <a:lnTo>
                      <a:pt x="108" y="659"/>
                    </a:lnTo>
                    <a:lnTo>
                      <a:pt x="110" y="665"/>
                    </a:lnTo>
                    <a:lnTo>
                      <a:pt x="110" y="665"/>
                    </a:lnTo>
                    <a:lnTo>
                      <a:pt x="112" y="673"/>
                    </a:lnTo>
                    <a:lnTo>
                      <a:pt x="112" y="673"/>
                    </a:lnTo>
                    <a:lnTo>
                      <a:pt x="112" y="673"/>
                    </a:lnTo>
                    <a:lnTo>
                      <a:pt x="112" y="673"/>
                    </a:lnTo>
                    <a:lnTo>
                      <a:pt x="116" y="677"/>
                    </a:lnTo>
                    <a:lnTo>
                      <a:pt x="116" y="683"/>
                    </a:lnTo>
                    <a:lnTo>
                      <a:pt x="116" y="683"/>
                    </a:lnTo>
                    <a:lnTo>
                      <a:pt x="118" y="683"/>
                    </a:lnTo>
                    <a:lnTo>
                      <a:pt x="118" y="683"/>
                    </a:lnTo>
                    <a:lnTo>
                      <a:pt x="122" y="685"/>
                    </a:lnTo>
                    <a:lnTo>
                      <a:pt x="124" y="687"/>
                    </a:lnTo>
                    <a:lnTo>
                      <a:pt x="124" y="691"/>
                    </a:lnTo>
                    <a:lnTo>
                      <a:pt x="124" y="691"/>
                    </a:lnTo>
                    <a:lnTo>
                      <a:pt x="124" y="691"/>
                    </a:lnTo>
                    <a:lnTo>
                      <a:pt x="126" y="691"/>
                    </a:lnTo>
                    <a:lnTo>
                      <a:pt x="126" y="691"/>
                    </a:lnTo>
                    <a:lnTo>
                      <a:pt x="126" y="691"/>
                    </a:lnTo>
                    <a:lnTo>
                      <a:pt x="126" y="691"/>
                    </a:lnTo>
                    <a:lnTo>
                      <a:pt x="128" y="693"/>
                    </a:lnTo>
                    <a:lnTo>
                      <a:pt x="132" y="693"/>
                    </a:lnTo>
                    <a:lnTo>
                      <a:pt x="132" y="693"/>
                    </a:lnTo>
                    <a:lnTo>
                      <a:pt x="136" y="691"/>
                    </a:lnTo>
                    <a:lnTo>
                      <a:pt x="142" y="687"/>
                    </a:lnTo>
                    <a:lnTo>
                      <a:pt x="142" y="687"/>
                    </a:lnTo>
                    <a:lnTo>
                      <a:pt x="144" y="687"/>
                    </a:lnTo>
                    <a:lnTo>
                      <a:pt x="144" y="687"/>
                    </a:lnTo>
                    <a:lnTo>
                      <a:pt x="151" y="685"/>
                    </a:lnTo>
                    <a:lnTo>
                      <a:pt x="151" y="685"/>
                    </a:lnTo>
                    <a:lnTo>
                      <a:pt x="157" y="687"/>
                    </a:lnTo>
                    <a:lnTo>
                      <a:pt x="159" y="689"/>
                    </a:lnTo>
                    <a:lnTo>
                      <a:pt x="163" y="693"/>
                    </a:lnTo>
                    <a:lnTo>
                      <a:pt x="163" y="693"/>
                    </a:lnTo>
                    <a:lnTo>
                      <a:pt x="163" y="695"/>
                    </a:lnTo>
                    <a:lnTo>
                      <a:pt x="163" y="695"/>
                    </a:lnTo>
                    <a:lnTo>
                      <a:pt x="165" y="699"/>
                    </a:lnTo>
                    <a:lnTo>
                      <a:pt x="167" y="701"/>
                    </a:lnTo>
                    <a:lnTo>
                      <a:pt x="167" y="701"/>
                    </a:lnTo>
                    <a:lnTo>
                      <a:pt x="171" y="705"/>
                    </a:lnTo>
                    <a:lnTo>
                      <a:pt x="171" y="705"/>
                    </a:lnTo>
                    <a:lnTo>
                      <a:pt x="171" y="707"/>
                    </a:lnTo>
                    <a:lnTo>
                      <a:pt x="173" y="707"/>
                    </a:lnTo>
                    <a:lnTo>
                      <a:pt x="173" y="707"/>
                    </a:lnTo>
                    <a:lnTo>
                      <a:pt x="177" y="707"/>
                    </a:lnTo>
                    <a:lnTo>
                      <a:pt x="177" y="707"/>
                    </a:lnTo>
                    <a:lnTo>
                      <a:pt x="179" y="709"/>
                    </a:lnTo>
                    <a:lnTo>
                      <a:pt x="179" y="709"/>
                    </a:lnTo>
                    <a:lnTo>
                      <a:pt x="183" y="707"/>
                    </a:lnTo>
                    <a:lnTo>
                      <a:pt x="183" y="707"/>
                    </a:lnTo>
                    <a:lnTo>
                      <a:pt x="187" y="705"/>
                    </a:lnTo>
                    <a:lnTo>
                      <a:pt x="191" y="703"/>
                    </a:lnTo>
                    <a:lnTo>
                      <a:pt x="191" y="703"/>
                    </a:lnTo>
                    <a:lnTo>
                      <a:pt x="185" y="701"/>
                    </a:lnTo>
                    <a:lnTo>
                      <a:pt x="185" y="697"/>
                    </a:lnTo>
                    <a:lnTo>
                      <a:pt x="185" y="697"/>
                    </a:lnTo>
                    <a:lnTo>
                      <a:pt x="185" y="695"/>
                    </a:lnTo>
                    <a:lnTo>
                      <a:pt x="185" y="695"/>
                    </a:lnTo>
                    <a:lnTo>
                      <a:pt x="183" y="691"/>
                    </a:lnTo>
                    <a:lnTo>
                      <a:pt x="183" y="691"/>
                    </a:lnTo>
                    <a:lnTo>
                      <a:pt x="179" y="687"/>
                    </a:lnTo>
                    <a:lnTo>
                      <a:pt x="177" y="681"/>
                    </a:lnTo>
                    <a:lnTo>
                      <a:pt x="177" y="675"/>
                    </a:lnTo>
                    <a:lnTo>
                      <a:pt x="183" y="675"/>
                    </a:lnTo>
                    <a:lnTo>
                      <a:pt x="185" y="675"/>
                    </a:lnTo>
                    <a:lnTo>
                      <a:pt x="185" y="675"/>
                    </a:lnTo>
                    <a:lnTo>
                      <a:pt x="193" y="675"/>
                    </a:lnTo>
                    <a:lnTo>
                      <a:pt x="193" y="675"/>
                    </a:lnTo>
                    <a:lnTo>
                      <a:pt x="199" y="675"/>
                    </a:lnTo>
                    <a:lnTo>
                      <a:pt x="201" y="673"/>
                    </a:lnTo>
                    <a:lnTo>
                      <a:pt x="201" y="673"/>
                    </a:lnTo>
                    <a:lnTo>
                      <a:pt x="203" y="669"/>
                    </a:lnTo>
                    <a:lnTo>
                      <a:pt x="205" y="667"/>
                    </a:lnTo>
                    <a:lnTo>
                      <a:pt x="209" y="667"/>
                    </a:lnTo>
                    <a:lnTo>
                      <a:pt x="213" y="667"/>
                    </a:lnTo>
                    <a:lnTo>
                      <a:pt x="213" y="667"/>
                    </a:lnTo>
                    <a:lnTo>
                      <a:pt x="217" y="667"/>
                    </a:lnTo>
                    <a:lnTo>
                      <a:pt x="217" y="667"/>
                    </a:lnTo>
                    <a:lnTo>
                      <a:pt x="219" y="667"/>
                    </a:lnTo>
                    <a:lnTo>
                      <a:pt x="219" y="667"/>
                    </a:lnTo>
                    <a:lnTo>
                      <a:pt x="219" y="665"/>
                    </a:lnTo>
                    <a:lnTo>
                      <a:pt x="217" y="659"/>
                    </a:lnTo>
                    <a:lnTo>
                      <a:pt x="223" y="659"/>
                    </a:lnTo>
                    <a:lnTo>
                      <a:pt x="223" y="659"/>
                    </a:lnTo>
                    <a:lnTo>
                      <a:pt x="233" y="659"/>
                    </a:lnTo>
                    <a:lnTo>
                      <a:pt x="239" y="661"/>
                    </a:lnTo>
                    <a:lnTo>
                      <a:pt x="243" y="665"/>
                    </a:lnTo>
                    <a:lnTo>
                      <a:pt x="243" y="665"/>
                    </a:lnTo>
                    <a:lnTo>
                      <a:pt x="243" y="665"/>
                    </a:lnTo>
                    <a:lnTo>
                      <a:pt x="243" y="665"/>
                    </a:lnTo>
                    <a:lnTo>
                      <a:pt x="245" y="661"/>
                    </a:lnTo>
                    <a:lnTo>
                      <a:pt x="249" y="659"/>
                    </a:lnTo>
                    <a:lnTo>
                      <a:pt x="249" y="659"/>
                    </a:lnTo>
                    <a:lnTo>
                      <a:pt x="249" y="659"/>
                    </a:lnTo>
                    <a:lnTo>
                      <a:pt x="253" y="659"/>
                    </a:lnTo>
                    <a:lnTo>
                      <a:pt x="253" y="659"/>
                    </a:lnTo>
                    <a:lnTo>
                      <a:pt x="259" y="659"/>
                    </a:lnTo>
                    <a:lnTo>
                      <a:pt x="259" y="659"/>
                    </a:lnTo>
                    <a:lnTo>
                      <a:pt x="271" y="663"/>
                    </a:lnTo>
                    <a:lnTo>
                      <a:pt x="271" y="663"/>
                    </a:lnTo>
                    <a:lnTo>
                      <a:pt x="281" y="669"/>
                    </a:lnTo>
                    <a:lnTo>
                      <a:pt x="281" y="669"/>
                    </a:lnTo>
                    <a:lnTo>
                      <a:pt x="293" y="675"/>
                    </a:lnTo>
                    <a:lnTo>
                      <a:pt x="293" y="675"/>
                    </a:lnTo>
                    <a:lnTo>
                      <a:pt x="299" y="677"/>
                    </a:lnTo>
                    <a:lnTo>
                      <a:pt x="305" y="677"/>
                    </a:lnTo>
                    <a:lnTo>
                      <a:pt x="305" y="677"/>
                    </a:lnTo>
                    <a:lnTo>
                      <a:pt x="318" y="675"/>
                    </a:lnTo>
                    <a:lnTo>
                      <a:pt x="328" y="673"/>
                    </a:lnTo>
                    <a:lnTo>
                      <a:pt x="324" y="683"/>
                    </a:lnTo>
                    <a:lnTo>
                      <a:pt x="324" y="683"/>
                    </a:lnTo>
                    <a:lnTo>
                      <a:pt x="326" y="685"/>
                    </a:lnTo>
                    <a:lnTo>
                      <a:pt x="328" y="687"/>
                    </a:lnTo>
                    <a:lnTo>
                      <a:pt x="334" y="691"/>
                    </a:lnTo>
                    <a:lnTo>
                      <a:pt x="334" y="691"/>
                    </a:lnTo>
                    <a:lnTo>
                      <a:pt x="338" y="693"/>
                    </a:lnTo>
                    <a:lnTo>
                      <a:pt x="338" y="693"/>
                    </a:lnTo>
                    <a:lnTo>
                      <a:pt x="338" y="693"/>
                    </a:lnTo>
                    <a:lnTo>
                      <a:pt x="338" y="693"/>
                    </a:lnTo>
                    <a:lnTo>
                      <a:pt x="338" y="691"/>
                    </a:lnTo>
                    <a:lnTo>
                      <a:pt x="338" y="691"/>
                    </a:lnTo>
                    <a:lnTo>
                      <a:pt x="338" y="689"/>
                    </a:lnTo>
                    <a:lnTo>
                      <a:pt x="338" y="689"/>
                    </a:lnTo>
                    <a:lnTo>
                      <a:pt x="340" y="685"/>
                    </a:lnTo>
                    <a:lnTo>
                      <a:pt x="346" y="683"/>
                    </a:lnTo>
                    <a:lnTo>
                      <a:pt x="358" y="683"/>
                    </a:lnTo>
                    <a:lnTo>
                      <a:pt x="358" y="689"/>
                    </a:lnTo>
                    <a:lnTo>
                      <a:pt x="358" y="689"/>
                    </a:lnTo>
                    <a:lnTo>
                      <a:pt x="358" y="691"/>
                    </a:lnTo>
                    <a:lnTo>
                      <a:pt x="358" y="691"/>
                    </a:lnTo>
                    <a:lnTo>
                      <a:pt x="358" y="691"/>
                    </a:lnTo>
                    <a:lnTo>
                      <a:pt x="358" y="691"/>
                    </a:lnTo>
                    <a:lnTo>
                      <a:pt x="360" y="691"/>
                    </a:lnTo>
                    <a:lnTo>
                      <a:pt x="372" y="693"/>
                    </a:lnTo>
                    <a:lnTo>
                      <a:pt x="364" y="701"/>
                    </a:lnTo>
                    <a:lnTo>
                      <a:pt x="364" y="701"/>
                    </a:lnTo>
                    <a:lnTo>
                      <a:pt x="358" y="707"/>
                    </a:lnTo>
                    <a:lnTo>
                      <a:pt x="358" y="707"/>
                    </a:lnTo>
                    <a:lnTo>
                      <a:pt x="366" y="707"/>
                    </a:lnTo>
                    <a:lnTo>
                      <a:pt x="372" y="707"/>
                    </a:lnTo>
                    <a:lnTo>
                      <a:pt x="372" y="707"/>
                    </a:lnTo>
                    <a:lnTo>
                      <a:pt x="384" y="707"/>
                    </a:lnTo>
                    <a:lnTo>
                      <a:pt x="384" y="707"/>
                    </a:lnTo>
                    <a:lnTo>
                      <a:pt x="390" y="709"/>
                    </a:lnTo>
                    <a:lnTo>
                      <a:pt x="392" y="711"/>
                    </a:lnTo>
                    <a:lnTo>
                      <a:pt x="396" y="715"/>
                    </a:lnTo>
                    <a:lnTo>
                      <a:pt x="396" y="715"/>
                    </a:lnTo>
                    <a:lnTo>
                      <a:pt x="398" y="719"/>
                    </a:lnTo>
                    <a:lnTo>
                      <a:pt x="398" y="723"/>
                    </a:lnTo>
                    <a:lnTo>
                      <a:pt x="398" y="723"/>
                    </a:lnTo>
                    <a:lnTo>
                      <a:pt x="398" y="723"/>
                    </a:lnTo>
                    <a:lnTo>
                      <a:pt x="398" y="723"/>
                    </a:lnTo>
                    <a:lnTo>
                      <a:pt x="400" y="723"/>
                    </a:lnTo>
                    <a:lnTo>
                      <a:pt x="400" y="723"/>
                    </a:lnTo>
                    <a:lnTo>
                      <a:pt x="404" y="725"/>
                    </a:lnTo>
                    <a:lnTo>
                      <a:pt x="406" y="727"/>
                    </a:lnTo>
                    <a:lnTo>
                      <a:pt x="408" y="733"/>
                    </a:lnTo>
                    <a:lnTo>
                      <a:pt x="408" y="733"/>
                    </a:lnTo>
                    <a:lnTo>
                      <a:pt x="408" y="735"/>
                    </a:lnTo>
                    <a:lnTo>
                      <a:pt x="408" y="735"/>
                    </a:lnTo>
                    <a:lnTo>
                      <a:pt x="412" y="739"/>
                    </a:lnTo>
                    <a:lnTo>
                      <a:pt x="412" y="739"/>
                    </a:lnTo>
                    <a:lnTo>
                      <a:pt x="418" y="741"/>
                    </a:lnTo>
                    <a:lnTo>
                      <a:pt x="424" y="741"/>
                    </a:lnTo>
                    <a:lnTo>
                      <a:pt x="424" y="741"/>
                    </a:lnTo>
                    <a:lnTo>
                      <a:pt x="432" y="741"/>
                    </a:lnTo>
                    <a:lnTo>
                      <a:pt x="438" y="739"/>
                    </a:lnTo>
                    <a:lnTo>
                      <a:pt x="438" y="745"/>
                    </a:lnTo>
                    <a:lnTo>
                      <a:pt x="438" y="745"/>
                    </a:lnTo>
                    <a:lnTo>
                      <a:pt x="440" y="747"/>
                    </a:lnTo>
                    <a:lnTo>
                      <a:pt x="444" y="747"/>
                    </a:lnTo>
                    <a:lnTo>
                      <a:pt x="452" y="749"/>
                    </a:lnTo>
                    <a:lnTo>
                      <a:pt x="456" y="749"/>
                    </a:lnTo>
                    <a:lnTo>
                      <a:pt x="456" y="749"/>
                    </a:lnTo>
                    <a:lnTo>
                      <a:pt x="458" y="749"/>
                    </a:lnTo>
                    <a:lnTo>
                      <a:pt x="461" y="751"/>
                    </a:lnTo>
                    <a:lnTo>
                      <a:pt x="465" y="755"/>
                    </a:lnTo>
                    <a:lnTo>
                      <a:pt x="465" y="755"/>
                    </a:lnTo>
                    <a:lnTo>
                      <a:pt x="469" y="759"/>
                    </a:lnTo>
                    <a:lnTo>
                      <a:pt x="469" y="759"/>
                    </a:lnTo>
                    <a:lnTo>
                      <a:pt x="475" y="763"/>
                    </a:lnTo>
                    <a:lnTo>
                      <a:pt x="475" y="763"/>
                    </a:lnTo>
                    <a:lnTo>
                      <a:pt x="479" y="767"/>
                    </a:lnTo>
                    <a:lnTo>
                      <a:pt x="479" y="767"/>
                    </a:lnTo>
                    <a:lnTo>
                      <a:pt x="485" y="770"/>
                    </a:lnTo>
                    <a:lnTo>
                      <a:pt x="491" y="776"/>
                    </a:lnTo>
                    <a:lnTo>
                      <a:pt x="491" y="776"/>
                    </a:lnTo>
                    <a:lnTo>
                      <a:pt x="495" y="784"/>
                    </a:lnTo>
                    <a:lnTo>
                      <a:pt x="495" y="784"/>
                    </a:lnTo>
                    <a:lnTo>
                      <a:pt x="495" y="786"/>
                    </a:lnTo>
                    <a:lnTo>
                      <a:pt x="495" y="786"/>
                    </a:lnTo>
                    <a:lnTo>
                      <a:pt x="495" y="788"/>
                    </a:lnTo>
                    <a:lnTo>
                      <a:pt x="495" y="788"/>
                    </a:lnTo>
                    <a:lnTo>
                      <a:pt x="495" y="790"/>
                    </a:lnTo>
                    <a:lnTo>
                      <a:pt x="495" y="790"/>
                    </a:lnTo>
                    <a:lnTo>
                      <a:pt x="501" y="792"/>
                    </a:lnTo>
                    <a:lnTo>
                      <a:pt x="505" y="800"/>
                    </a:lnTo>
                    <a:lnTo>
                      <a:pt x="505" y="800"/>
                    </a:lnTo>
                    <a:lnTo>
                      <a:pt x="509" y="804"/>
                    </a:lnTo>
                    <a:lnTo>
                      <a:pt x="509" y="804"/>
                    </a:lnTo>
                    <a:lnTo>
                      <a:pt x="509" y="804"/>
                    </a:lnTo>
                    <a:lnTo>
                      <a:pt x="511" y="804"/>
                    </a:lnTo>
                    <a:lnTo>
                      <a:pt x="511" y="804"/>
                    </a:lnTo>
                    <a:lnTo>
                      <a:pt x="513" y="804"/>
                    </a:lnTo>
                    <a:lnTo>
                      <a:pt x="515" y="804"/>
                    </a:lnTo>
                    <a:lnTo>
                      <a:pt x="517" y="804"/>
                    </a:lnTo>
                    <a:lnTo>
                      <a:pt x="517" y="804"/>
                    </a:lnTo>
                    <a:lnTo>
                      <a:pt x="521" y="808"/>
                    </a:lnTo>
                    <a:lnTo>
                      <a:pt x="521" y="808"/>
                    </a:lnTo>
                    <a:lnTo>
                      <a:pt x="529" y="812"/>
                    </a:lnTo>
                    <a:lnTo>
                      <a:pt x="537" y="820"/>
                    </a:lnTo>
                    <a:lnTo>
                      <a:pt x="537" y="820"/>
                    </a:lnTo>
                    <a:lnTo>
                      <a:pt x="541" y="828"/>
                    </a:lnTo>
                    <a:lnTo>
                      <a:pt x="543" y="834"/>
                    </a:lnTo>
                    <a:lnTo>
                      <a:pt x="543" y="834"/>
                    </a:lnTo>
                    <a:lnTo>
                      <a:pt x="543" y="840"/>
                    </a:lnTo>
                    <a:lnTo>
                      <a:pt x="543" y="840"/>
                    </a:lnTo>
                    <a:lnTo>
                      <a:pt x="543" y="842"/>
                    </a:lnTo>
                    <a:lnTo>
                      <a:pt x="541" y="846"/>
                    </a:lnTo>
                    <a:lnTo>
                      <a:pt x="541" y="846"/>
                    </a:lnTo>
                    <a:lnTo>
                      <a:pt x="539" y="846"/>
                    </a:lnTo>
                    <a:lnTo>
                      <a:pt x="537" y="848"/>
                    </a:lnTo>
                    <a:lnTo>
                      <a:pt x="537" y="848"/>
                    </a:lnTo>
                    <a:lnTo>
                      <a:pt x="535" y="848"/>
                    </a:lnTo>
                    <a:lnTo>
                      <a:pt x="517" y="848"/>
                    </a:lnTo>
                    <a:lnTo>
                      <a:pt x="517" y="848"/>
                    </a:lnTo>
                    <a:lnTo>
                      <a:pt x="517" y="850"/>
                    </a:lnTo>
                    <a:lnTo>
                      <a:pt x="517" y="850"/>
                    </a:lnTo>
                    <a:lnTo>
                      <a:pt x="515" y="854"/>
                    </a:lnTo>
                    <a:lnTo>
                      <a:pt x="511" y="854"/>
                    </a:lnTo>
                    <a:lnTo>
                      <a:pt x="507" y="856"/>
                    </a:lnTo>
                    <a:lnTo>
                      <a:pt x="505" y="856"/>
                    </a:lnTo>
                    <a:lnTo>
                      <a:pt x="505" y="856"/>
                    </a:lnTo>
                    <a:lnTo>
                      <a:pt x="503" y="856"/>
                    </a:lnTo>
                    <a:lnTo>
                      <a:pt x="503" y="856"/>
                    </a:lnTo>
                    <a:lnTo>
                      <a:pt x="501" y="856"/>
                    </a:lnTo>
                    <a:lnTo>
                      <a:pt x="501" y="856"/>
                    </a:lnTo>
                    <a:lnTo>
                      <a:pt x="503" y="858"/>
                    </a:lnTo>
                    <a:lnTo>
                      <a:pt x="503" y="858"/>
                    </a:lnTo>
                    <a:lnTo>
                      <a:pt x="505" y="860"/>
                    </a:lnTo>
                    <a:lnTo>
                      <a:pt x="505" y="860"/>
                    </a:lnTo>
                    <a:lnTo>
                      <a:pt x="513" y="862"/>
                    </a:lnTo>
                    <a:lnTo>
                      <a:pt x="513" y="862"/>
                    </a:lnTo>
                    <a:lnTo>
                      <a:pt x="517" y="862"/>
                    </a:lnTo>
                    <a:lnTo>
                      <a:pt x="521" y="860"/>
                    </a:lnTo>
                    <a:lnTo>
                      <a:pt x="521" y="860"/>
                    </a:lnTo>
                    <a:lnTo>
                      <a:pt x="529" y="860"/>
                    </a:lnTo>
                    <a:lnTo>
                      <a:pt x="539" y="860"/>
                    </a:lnTo>
                    <a:lnTo>
                      <a:pt x="567" y="860"/>
                    </a:lnTo>
                    <a:lnTo>
                      <a:pt x="567" y="860"/>
                    </a:lnTo>
                    <a:lnTo>
                      <a:pt x="567" y="860"/>
                    </a:lnTo>
                    <a:lnTo>
                      <a:pt x="567" y="860"/>
                    </a:lnTo>
                    <a:lnTo>
                      <a:pt x="569" y="860"/>
                    </a:lnTo>
                    <a:lnTo>
                      <a:pt x="569" y="860"/>
                    </a:lnTo>
                    <a:lnTo>
                      <a:pt x="573" y="862"/>
                    </a:lnTo>
                    <a:lnTo>
                      <a:pt x="575" y="866"/>
                    </a:lnTo>
                    <a:lnTo>
                      <a:pt x="575" y="866"/>
                    </a:lnTo>
                    <a:lnTo>
                      <a:pt x="575" y="870"/>
                    </a:lnTo>
                    <a:lnTo>
                      <a:pt x="577" y="870"/>
                    </a:lnTo>
                    <a:lnTo>
                      <a:pt x="577" y="870"/>
                    </a:lnTo>
                    <a:lnTo>
                      <a:pt x="577" y="870"/>
                    </a:lnTo>
                    <a:lnTo>
                      <a:pt x="579" y="870"/>
                    </a:lnTo>
                    <a:lnTo>
                      <a:pt x="581" y="872"/>
                    </a:lnTo>
                    <a:lnTo>
                      <a:pt x="583" y="874"/>
                    </a:lnTo>
                    <a:lnTo>
                      <a:pt x="583" y="874"/>
                    </a:lnTo>
                    <a:lnTo>
                      <a:pt x="585" y="874"/>
                    </a:lnTo>
                    <a:lnTo>
                      <a:pt x="585" y="874"/>
                    </a:lnTo>
                    <a:lnTo>
                      <a:pt x="587" y="876"/>
                    </a:lnTo>
                    <a:lnTo>
                      <a:pt x="587" y="876"/>
                    </a:lnTo>
                    <a:lnTo>
                      <a:pt x="595" y="876"/>
                    </a:lnTo>
                    <a:lnTo>
                      <a:pt x="595" y="876"/>
                    </a:lnTo>
                    <a:lnTo>
                      <a:pt x="601" y="876"/>
                    </a:lnTo>
                    <a:lnTo>
                      <a:pt x="601" y="876"/>
                    </a:lnTo>
                    <a:lnTo>
                      <a:pt x="605" y="878"/>
                    </a:lnTo>
                    <a:lnTo>
                      <a:pt x="607" y="880"/>
                    </a:lnTo>
                    <a:lnTo>
                      <a:pt x="609" y="886"/>
                    </a:lnTo>
                    <a:lnTo>
                      <a:pt x="609" y="886"/>
                    </a:lnTo>
                    <a:lnTo>
                      <a:pt x="611" y="886"/>
                    </a:lnTo>
                    <a:lnTo>
                      <a:pt x="618" y="886"/>
                    </a:lnTo>
                    <a:lnTo>
                      <a:pt x="618" y="886"/>
                    </a:lnTo>
                    <a:lnTo>
                      <a:pt x="622" y="884"/>
                    </a:lnTo>
                    <a:lnTo>
                      <a:pt x="622" y="884"/>
                    </a:lnTo>
                    <a:lnTo>
                      <a:pt x="632" y="884"/>
                    </a:lnTo>
                    <a:lnTo>
                      <a:pt x="632" y="884"/>
                    </a:lnTo>
                    <a:lnTo>
                      <a:pt x="642" y="886"/>
                    </a:lnTo>
                    <a:lnTo>
                      <a:pt x="646" y="886"/>
                    </a:lnTo>
                    <a:lnTo>
                      <a:pt x="648" y="890"/>
                    </a:lnTo>
                    <a:lnTo>
                      <a:pt x="648" y="890"/>
                    </a:lnTo>
                    <a:lnTo>
                      <a:pt x="650" y="892"/>
                    </a:lnTo>
                    <a:lnTo>
                      <a:pt x="652" y="892"/>
                    </a:lnTo>
                    <a:lnTo>
                      <a:pt x="652" y="892"/>
                    </a:lnTo>
                    <a:lnTo>
                      <a:pt x="660" y="894"/>
                    </a:lnTo>
                    <a:lnTo>
                      <a:pt x="660" y="894"/>
                    </a:lnTo>
                    <a:lnTo>
                      <a:pt x="668" y="892"/>
                    </a:lnTo>
                    <a:lnTo>
                      <a:pt x="670" y="892"/>
                    </a:lnTo>
                    <a:lnTo>
                      <a:pt x="670" y="892"/>
                    </a:lnTo>
                    <a:lnTo>
                      <a:pt x="674" y="894"/>
                    </a:lnTo>
                    <a:lnTo>
                      <a:pt x="674" y="894"/>
                    </a:lnTo>
                    <a:lnTo>
                      <a:pt x="678" y="894"/>
                    </a:lnTo>
                    <a:lnTo>
                      <a:pt x="678" y="894"/>
                    </a:lnTo>
                    <a:lnTo>
                      <a:pt x="680" y="894"/>
                    </a:lnTo>
                    <a:lnTo>
                      <a:pt x="680" y="894"/>
                    </a:lnTo>
                    <a:lnTo>
                      <a:pt x="682" y="894"/>
                    </a:lnTo>
                    <a:lnTo>
                      <a:pt x="682" y="894"/>
                    </a:lnTo>
                    <a:lnTo>
                      <a:pt x="686" y="894"/>
                    </a:lnTo>
                    <a:lnTo>
                      <a:pt x="688" y="898"/>
                    </a:lnTo>
                    <a:lnTo>
                      <a:pt x="688" y="898"/>
                    </a:lnTo>
                    <a:lnTo>
                      <a:pt x="690" y="902"/>
                    </a:lnTo>
                    <a:lnTo>
                      <a:pt x="690" y="902"/>
                    </a:lnTo>
                    <a:lnTo>
                      <a:pt x="694" y="906"/>
                    </a:lnTo>
                    <a:lnTo>
                      <a:pt x="700" y="910"/>
                    </a:lnTo>
                    <a:lnTo>
                      <a:pt x="704" y="910"/>
                    </a:lnTo>
                    <a:lnTo>
                      <a:pt x="704" y="910"/>
                    </a:lnTo>
                    <a:lnTo>
                      <a:pt x="708" y="910"/>
                    </a:lnTo>
                    <a:lnTo>
                      <a:pt x="710" y="912"/>
                    </a:lnTo>
                    <a:lnTo>
                      <a:pt x="712" y="914"/>
                    </a:lnTo>
                    <a:lnTo>
                      <a:pt x="712" y="914"/>
                    </a:lnTo>
                    <a:lnTo>
                      <a:pt x="712" y="916"/>
                    </a:lnTo>
                    <a:lnTo>
                      <a:pt x="712" y="916"/>
                    </a:lnTo>
                    <a:lnTo>
                      <a:pt x="716" y="919"/>
                    </a:lnTo>
                    <a:lnTo>
                      <a:pt x="716" y="919"/>
                    </a:lnTo>
                    <a:lnTo>
                      <a:pt x="718" y="921"/>
                    </a:lnTo>
                    <a:lnTo>
                      <a:pt x="722" y="923"/>
                    </a:lnTo>
                    <a:lnTo>
                      <a:pt x="734" y="925"/>
                    </a:lnTo>
                    <a:lnTo>
                      <a:pt x="734" y="925"/>
                    </a:lnTo>
                    <a:lnTo>
                      <a:pt x="742" y="925"/>
                    </a:lnTo>
                    <a:lnTo>
                      <a:pt x="742" y="925"/>
                    </a:lnTo>
                    <a:lnTo>
                      <a:pt x="748" y="925"/>
                    </a:lnTo>
                    <a:lnTo>
                      <a:pt x="754" y="925"/>
                    </a:lnTo>
                    <a:lnTo>
                      <a:pt x="752" y="931"/>
                    </a:lnTo>
                    <a:lnTo>
                      <a:pt x="752" y="931"/>
                    </a:lnTo>
                    <a:lnTo>
                      <a:pt x="752" y="933"/>
                    </a:lnTo>
                    <a:lnTo>
                      <a:pt x="752" y="933"/>
                    </a:lnTo>
                    <a:lnTo>
                      <a:pt x="752" y="933"/>
                    </a:lnTo>
                    <a:lnTo>
                      <a:pt x="752" y="933"/>
                    </a:lnTo>
                    <a:lnTo>
                      <a:pt x="756" y="933"/>
                    </a:lnTo>
                    <a:lnTo>
                      <a:pt x="760" y="933"/>
                    </a:lnTo>
                    <a:lnTo>
                      <a:pt x="760" y="969"/>
                    </a:lnTo>
                    <a:lnTo>
                      <a:pt x="754" y="967"/>
                    </a:lnTo>
                    <a:lnTo>
                      <a:pt x="754" y="967"/>
                    </a:lnTo>
                    <a:lnTo>
                      <a:pt x="754" y="967"/>
                    </a:lnTo>
                    <a:lnTo>
                      <a:pt x="754" y="967"/>
                    </a:lnTo>
                    <a:lnTo>
                      <a:pt x="754" y="967"/>
                    </a:lnTo>
                    <a:lnTo>
                      <a:pt x="754" y="969"/>
                    </a:lnTo>
                    <a:lnTo>
                      <a:pt x="754" y="969"/>
                    </a:lnTo>
                    <a:lnTo>
                      <a:pt x="752" y="981"/>
                    </a:lnTo>
                    <a:lnTo>
                      <a:pt x="752" y="981"/>
                    </a:lnTo>
                    <a:lnTo>
                      <a:pt x="756" y="981"/>
                    </a:lnTo>
                    <a:lnTo>
                      <a:pt x="760" y="981"/>
                    </a:lnTo>
                    <a:lnTo>
                      <a:pt x="760" y="987"/>
                    </a:lnTo>
                    <a:lnTo>
                      <a:pt x="760" y="987"/>
                    </a:lnTo>
                    <a:lnTo>
                      <a:pt x="762" y="989"/>
                    </a:lnTo>
                    <a:lnTo>
                      <a:pt x="762" y="989"/>
                    </a:lnTo>
                    <a:lnTo>
                      <a:pt x="760" y="995"/>
                    </a:lnTo>
                    <a:lnTo>
                      <a:pt x="760" y="997"/>
                    </a:lnTo>
                    <a:lnTo>
                      <a:pt x="756" y="1001"/>
                    </a:lnTo>
                    <a:lnTo>
                      <a:pt x="756" y="1001"/>
                    </a:lnTo>
                    <a:lnTo>
                      <a:pt x="752" y="1003"/>
                    </a:lnTo>
                    <a:lnTo>
                      <a:pt x="752" y="1003"/>
                    </a:lnTo>
                    <a:lnTo>
                      <a:pt x="742" y="1011"/>
                    </a:lnTo>
                    <a:lnTo>
                      <a:pt x="732" y="1021"/>
                    </a:lnTo>
                    <a:lnTo>
                      <a:pt x="732" y="1021"/>
                    </a:lnTo>
                    <a:lnTo>
                      <a:pt x="728" y="1029"/>
                    </a:lnTo>
                    <a:lnTo>
                      <a:pt x="728" y="1029"/>
                    </a:lnTo>
                    <a:lnTo>
                      <a:pt x="724" y="1033"/>
                    </a:lnTo>
                    <a:lnTo>
                      <a:pt x="722" y="1033"/>
                    </a:lnTo>
                    <a:lnTo>
                      <a:pt x="722" y="1033"/>
                    </a:lnTo>
                    <a:lnTo>
                      <a:pt x="720" y="1033"/>
                    </a:lnTo>
                    <a:lnTo>
                      <a:pt x="720" y="1033"/>
                    </a:lnTo>
                    <a:lnTo>
                      <a:pt x="720" y="1033"/>
                    </a:lnTo>
                    <a:lnTo>
                      <a:pt x="720" y="1033"/>
                    </a:lnTo>
                    <a:lnTo>
                      <a:pt x="720" y="1033"/>
                    </a:lnTo>
                    <a:lnTo>
                      <a:pt x="720" y="1035"/>
                    </a:lnTo>
                    <a:lnTo>
                      <a:pt x="722" y="1041"/>
                    </a:lnTo>
                    <a:lnTo>
                      <a:pt x="716" y="1041"/>
                    </a:lnTo>
                    <a:lnTo>
                      <a:pt x="716" y="1041"/>
                    </a:lnTo>
                    <a:lnTo>
                      <a:pt x="714" y="1041"/>
                    </a:lnTo>
                    <a:lnTo>
                      <a:pt x="714" y="1045"/>
                    </a:lnTo>
                    <a:lnTo>
                      <a:pt x="714" y="1045"/>
                    </a:lnTo>
                    <a:lnTo>
                      <a:pt x="714" y="1047"/>
                    </a:lnTo>
                    <a:lnTo>
                      <a:pt x="714" y="1047"/>
                    </a:lnTo>
                    <a:lnTo>
                      <a:pt x="712" y="1051"/>
                    </a:lnTo>
                    <a:lnTo>
                      <a:pt x="712" y="1051"/>
                    </a:lnTo>
                    <a:lnTo>
                      <a:pt x="710" y="1055"/>
                    </a:lnTo>
                    <a:lnTo>
                      <a:pt x="708" y="1057"/>
                    </a:lnTo>
                    <a:lnTo>
                      <a:pt x="704" y="1057"/>
                    </a:lnTo>
                    <a:lnTo>
                      <a:pt x="704" y="1057"/>
                    </a:lnTo>
                    <a:lnTo>
                      <a:pt x="700" y="1057"/>
                    </a:lnTo>
                    <a:lnTo>
                      <a:pt x="700" y="1057"/>
                    </a:lnTo>
                    <a:lnTo>
                      <a:pt x="698" y="1057"/>
                    </a:lnTo>
                    <a:lnTo>
                      <a:pt x="688" y="1057"/>
                    </a:lnTo>
                    <a:lnTo>
                      <a:pt x="688" y="1057"/>
                    </a:lnTo>
                    <a:lnTo>
                      <a:pt x="688" y="1057"/>
                    </a:lnTo>
                    <a:lnTo>
                      <a:pt x="688" y="1061"/>
                    </a:lnTo>
                    <a:lnTo>
                      <a:pt x="688" y="1061"/>
                    </a:lnTo>
                    <a:lnTo>
                      <a:pt x="688" y="1070"/>
                    </a:lnTo>
                    <a:lnTo>
                      <a:pt x="688" y="1070"/>
                    </a:lnTo>
                    <a:lnTo>
                      <a:pt x="690" y="1070"/>
                    </a:lnTo>
                    <a:lnTo>
                      <a:pt x="696" y="1070"/>
                    </a:lnTo>
                    <a:lnTo>
                      <a:pt x="696" y="1074"/>
                    </a:lnTo>
                    <a:lnTo>
                      <a:pt x="696" y="1108"/>
                    </a:lnTo>
                    <a:lnTo>
                      <a:pt x="696" y="1108"/>
                    </a:lnTo>
                    <a:lnTo>
                      <a:pt x="696" y="1120"/>
                    </a:lnTo>
                    <a:lnTo>
                      <a:pt x="696" y="1120"/>
                    </a:lnTo>
                    <a:lnTo>
                      <a:pt x="696" y="1150"/>
                    </a:lnTo>
                    <a:lnTo>
                      <a:pt x="696" y="1150"/>
                    </a:lnTo>
                    <a:lnTo>
                      <a:pt x="696" y="1152"/>
                    </a:lnTo>
                    <a:lnTo>
                      <a:pt x="694" y="1156"/>
                    </a:lnTo>
                    <a:lnTo>
                      <a:pt x="690" y="1160"/>
                    </a:lnTo>
                    <a:lnTo>
                      <a:pt x="684" y="1162"/>
                    </a:lnTo>
                    <a:lnTo>
                      <a:pt x="684" y="1162"/>
                    </a:lnTo>
                    <a:lnTo>
                      <a:pt x="678" y="1162"/>
                    </a:lnTo>
                    <a:lnTo>
                      <a:pt x="676" y="1166"/>
                    </a:lnTo>
                    <a:lnTo>
                      <a:pt x="676" y="1166"/>
                    </a:lnTo>
                    <a:lnTo>
                      <a:pt x="672" y="1172"/>
                    </a:lnTo>
                    <a:lnTo>
                      <a:pt x="670" y="1178"/>
                    </a:lnTo>
                    <a:lnTo>
                      <a:pt x="670" y="1178"/>
                    </a:lnTo>
                    <a:lnTo>
                      <a:pt x="664" y="1188"/>
                    </a:lnTo>
                    <a:lnTo>
                      <a:pt x="664" y="1188"/>
                    </a:lnTo>
                    <a:lnTo>
                      <a:pt x="662" y="1192"/>
                    </a:lnTo>
                    <a:lnTo>
                      <a:pt x="656" y="1194"/>
                    </a:lnTo>
                    <a:lnTo>
                      <a:pt x="654" y="1194"/>
                    </a:lnTo>
                    <a:lnTo>
                      <a:pt x="654" y="1194"/>
                    </a:lnTo>
                    <a:lnTo>
                      <a:pt x="650" y="1194"/>
                    </a:lnTo>
                    <a:lnTo>
                      <a:pt x="650" y="1194"/>
                    </a:lnTo>
                    <a:lnTo>
                      <a:pt x="648" y="1196"/>
                    </a:lnTo>
                    <a:lnTo>
                      <a:pt x="648" y="1196"/>
                    </a:lnTo>
                    <a:lnTo>
                      <a:pt x="642" y="1200"/>
                    </a:lnTo>
                    <a:lnTo>
                      <a:pt x="642" y="1200"/>
                    </a:lnTo>
                    <a:lnTo>
                      <a:pt x="634" y="1202"/>
                    </a:lnTo>
                    <a:lnTo>
                      <a:pt x="634" y="1202"/>
                    </a:lnTo>
                    <a:lnTo>
                      <a:pt x="632" y="1202"/>
                    </a:lnTo>
                    <a:lnTo>
                      <a:pt x="632" y="1202"/>
                    </a:lnTo>
                    <a:lnTo>
                      <a:pt x="632" y="1210"/>
                    </a:lnTo>
                    <a:lnTo>
                      <a:pt x="632" y="1210"/>
                    </a:lnTo>
                    <a:lnTo>
                      <a:pt x="632" y="1212"/>
                    </a:lnTo>
                    <a:lnTo>
                      <a:pt x="632" y="1220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18"/>
                    </a:lnTo>
                    <a:lnTo>
                      <a:pt x="624" y="1220"/>
                    </a:lnTo>
                    <a:lnTo>
                      <a:pt x="624" y="1220"/>
                    </a:lnTo>
                    <a:lnTo>
                      <a:pt x="622" y="1223"/>
                    </a:lnTo>
                    <a:lnTo>
                      <a:pt x="616" y="1225"/>
                    </a:lnTo>
                    <a:lnTo>
                      <a:pt x="609" y="1225"/>
                    </a:lnTo>
                    <a:lnTo>
                      <a:pt x="609" y="1225"/>
                    </a:lnTo>
                    <a:lnTo>
                      <a:pt x="599" y="1225"/>
                    </a:lnTo>
                    <a:lnTo>
                      <a:pt x="599" y="1225"/>
                    </a:lnTo>
                    <a:lnTo>
                      <a:pt x="591" y="1225"/>
                    </a:lnTo>
                    <a:lnTo>
                      <a:pt x="591" y="1225"/>
                    </a:lnTo>
                    <a:lnTo>
                      <a:pt x="579" y="1225"/>
                    </a:lnTo>
                    <a:lnTo>
                      <a:pt x="579" y="1225"/>
                    </a:lnTo>
                    <a:lnTo>
                      <a:pt x="575" y="1227"/>
                    </a:lnTo>
                    <a:lnTo>
                      <a:pt x="571" y="1231"/>
                    </a:lnTo>
                    <a:lnTo>
                      <a:pt x="567" y="1235"/>
                    </a:lnTo>
                    <a:lnTo>
                      <a:pt x="567" y="1237"/>
                    </a:lnTo>
                    <a:lnTo>
                      <a:pt x="567" y="1237"/>
                    </a:lnTo>
                    <a:lnTo>
                      <a:pt x="565" y="1241"/>
                    </a:lnTo>
                    <a:lnTo>
                      <a:pt x="561" y="1247"/>
                    </a:lnTo>
                    <a:lnTo>
                      <a:pt x="561" y="1247"/>
                    </a:lnTo>
                    <a:lnTo>
                      <a:pt x="559" y="1253"/>
                    </a:lnTo>
                    <a:lnTo>
                      <a:pt x="559" y="1259"/>
                    </a:lnTo>
                    <a:lnTo>
                      <a:pt x="553" y="1257"/>
                    </a:lnTo>
                    <a:lnTo>
                      <a:pt x="553" y="1257"/>
                    </a:lnTo>
                    <a:lnTo>
                      <a:pt x="551" y="1257"/>
                    </a:lnTo>
                    <a:lnTo>
                      <a:pt x="551" y="1257"/>
                    </a:lnTo>
                    <a:lnTo>
                      <a:pt x="551" y="1261"/>
                    </a:lnTo>
                    <a:lnTo>
                      <a:pt x="551" y="1309"/>
                    </a:lnTo>
                    <a:lnTo>
                      <a:pt x="551" y="1309"/>
                    </a:lnTo>
                    <a:lnTo>
                      <a:pt x="551" y="1317"/>
                    </a:lnTo>
                    <a:lnTo>
                      <a:pt x="549" y="1325"/>
                    </a:lnTo>
                    <a:lnTo>
                      <a:pt x="549" y="1325"/>
                    </a:lnTo>
                    <a:lnTo>
                      <a:pt x="545" y="1331"/>
                    </a:lnTo>
                    <a:lnTo>
                      <a:pt x="539" y="1337"/>
                    </a:lnTo>
                    <a:lnTo>
                      <a:pt x="529" y="1343"/>
                    </a:lnTo>
                    <a:lnTo>
                      <a:pt x="527" y="1345"/>
                    </a:lnTo>
                    <a:lnTo>
                      <a:pt x="527" y="1345"/>
                    </a:lnTo>
                    <a:lnTo>
                      <a:pt x="521" y="1347"/>
                    </a:lnTo>
                    <a:lnTo>
                      <a:pt x="521" y="1347"/>
                    </a:lnTo>
                    <a:lnTo>
                      <a:pt x="519" y="1347"/>
                    </a:lnTo>
                    <a:lnTo>
                      <a:pt x="519" y="1347"/>
                    </a:lnTo>
                    <a:lnTo>
                      <a:pt x="519" y="1347"/>
                    </a:lnTo>
                    <a:lnTo>
                      <a:pt x="519" y="1347"/>
                    </a:lnTo>
                    <a:lnTo>
                      <a:pt x="519" y="1361"/>
                    </a:lnTo>
                    <a:lnTo>
                      <a:pt x="519" y="1361"/>
                    </a:lnTo>
                    <a:lnTo>
                      <a:pt x="519" y="1365"/>
                    </a:lnTo>
                    <a:lnTo>
                      <a:pt x="519" y="1372"/>
                    </a:lnTo>
                    <a:lnTo>
                      <a:pt x="513" y="1371"/>
                    </a:lnTo>
                    <a:lnTo>
                      <a:pt x="513" y="1371"/>
                    </a:lnTo>
                    <a:lnTo>
                      <a:pt x="511" y="1371"/>
                    </a:lnTo>
                    <a:lnTo>
                      <a:pt x="511" y="1371"/>
                    </a:lnTo>
                    <a:lnTo>
                      <a:pt x="511" y="1371"/>
                    </a:lnTo>
                    <a:lnTo>
                      <a:pt x="511" y="1371"/>
                    </a:lnTo>
                    <a:lnTo>
                      <a:pt x="511" y="1374"/>
                    </a:lnTo>
                    <a:lnTo>
                      <a:pt x="511" y="1378"/>
                    </a:lnTo>
                    <a:lnTo>
                      <a:pt x="479" y="1378"/>
                    </a:lnTo>
                    <a:lnTo>
                      <a:pt x="479" y="1378"/>
                    </a:lnTo>
                    <a:lnTo>
                      <a:pt x="479" y="1382"/>
                    </a:lnTo>
                    <a:lnTo>
                      <a:pt x="479" y="1382"/>
                    </a:lnTo>
                    <a:lnTo>
                      <a:pt x="481" y="1384"/>
                    </a:lnTo>
                    <a:lnTo>
                      <a:pt x="485" y="1384"/>
                    </a:lnTo>
                    <a:lnTo>
                      <a:pt x="485" y="1384"/>
                    </a:lnTo>
                    <a:lnTo>
                      <a:pt x="489" y="1384"/>
                    </a:lnTo>
                    <a:lnTo>
                      <a:pt x="495" y="1384"/>
                    </a:lnTo>
                    <a:lnTo>
                      <a:pt x="495" y="1388"/>
                    </a:lnTo>
                    <a:lnTo>
                      <a:pt x="495" y="1388"/>
                    </a:lnTo>
                    <a:lnTo>
                      <a:pt x="495" y="1392"/>
                    </a:lnTo>
                    <a:lnTo>
                      <a:pt x="497" y="1398"/>
                    </a:lnTo>
                    <a:lnTo>
                      <a:pt x="497" y="1398"/>
                    </a:lnTo>
                    <a:lnTo>
                      <a:pt x="503" y="1406"/>
                    </a:lnTo>
                    <a:lnTo>
                      <a:pt x="503" y="1412"/>
                    </a:lnTo>
                    <a:lnTo>
                      <a:pt x="501" y="1418"/>
                    </a:lnTo>
                    <a:lnTo>
                      <a:pt x="501" y="1418"/>
                    </a:lnTo>
                    <a:lnTo>
                      <a:pt x="499" y="1422"/>
                    </a:lnTo>
                    <a:lnTo>
                      <a:pt x="495" y="1424"/>
                    </a:lnTo>
                    <a:lnTo>
                      <a:pt x="491" y="1426"/>
                    </a:lnTo>
                    <a:lnTo>
                      <a:pt x="485" y="1428"/>
                    </a:lnTo>
                    <a:lnTo>
                      <a:pt x="485" y="1428"/>
                    </a:lnTo>
                    <a:lnTo>
                      <a:pt x="483" y="1428"/>
                    </a:lnTo>
                    <a:lnTo>
                      <a:pt x="483" y="1428"/>
                    </a:lnTo>
                    <a:lnTo>
                      <a:pt x="481" y="1428"/>
                    </a:lnTo>
                    <a:lnTo>
                      <a:pt x="481" y="1428"/>
                    </a:lnTo>
                    <a:lnTo>
                      <a:pt x="479" y="1428"/>
                    </a:lnTo>
                    <a:lnTo>
                      <a:pt x="479" y="1428"/>
                    </a:lnTo>
                    <a:lnTo>
                      <a:pt x="479" y="1430"/>
                    </a:lnTo>
                    <a:lnTo>
                      <a:pt x="477" y="1438"/>
                    </a:lnTo>
                    <a:lnTo>
                      <a:pt x="471" y="1434"/>
                    </a:lnTo>
                    <a:lnTo>
                      <a:pt x="471" y="1434"/>
                    </a:lnTo>
                    <a:lnTo>
                      <a:pt x="467" y="1434"/>
                    </a:lnTo>
                    <a:lnTo>
                      <a:pt x="461" y="1432"/>
                    </a:lnTo>
                    <a:lnTo>
                      <a:pt x="461" y="1432"/>
                    </a:lnTo>
                    <a:lnTo>
                      <a:pt x="458" y="1432"/>
                    </a:lnTo>
                    <a:lnTo>
                      <a:pt x="458" y="1432"/>
                    </a:lnTo>
                    <a:lnTo>
                      <a:pt x="456" y="1436"/>
                    </a:lnTo>
                    <a:lnTo>
                      <a:pt x="456" y="1440"/>
                    </a:lnTo>
                    <a:lnTo>
                      <a:pt x="456" y="1442"/>
                    </a:lnTo>
                    <a:lnTo>
                      <a:pt x="456" y="1442"/>
                    </a:lnTo>
                    <a:lnTo>
                      <a:pt x="452" y="1452"/>
                    </a:lnTo>
                    <a:lnTo>
                      <a:pt x="450" y="1456"/>
                    </a:lnTo>
                    <a:lnTo>
                      <a:pt x="444" y="1458"/>
                    </a:lnTo>
                    <a:lnTo>
                      <a:pt x="444" y="1458"/>
                    </a:lnTo>
                    <a:lnTo>
                      <a:pt x="440" y="1460"/>
                    </a:lnTo>
                    <a:lnTo>
                      <a:pt x="440" y="1460"/>
                    </a:lnTo>
                    <a:lnTo>
                      <a:pt x="438" y="1460"/>
                    </a:lnTo>
                    <a:lnTo>
                      <a:pt x="438" y="1460"/>
                    </a:lnTo>
                    <a:lnTo>
                      <a:pt x="438" y="1462"/>
                    </a:lnTo>
                    <a:lnTo>
                      <a:pt x="438" y="1462"/>
                    </a:lnTo>
                    <a:lnTo>
                      <a:pt x="440" y="1464"/>
                    </a:lnTo>
                    <a:lnTo>
                      <a:pt x="440" y="1464"/>
                    </a:lnTo>
                    <a:lnTo>
                      <a:pt x="442" y="1466"/>
                    </a:lnTo>
                    <a:lnTo>
                      <a:pt x="446" y="1466"/>
                    </a:lnTo>
                    <a:lnTo>
                      <a:pt x="446" y="1470"/>
                    </a:lnTo>
                    <a:lnTo>
                      <a:pt x="446" y="1470"/>
                    </a:lnTo>
                    <a:lnTo>
                      <a:pt x="448" y="1472"/>
                    </a:lnTo>
                    <a:lnTo>
                      <a:pt x="448" y="1472"/>
                    </a:lnTo>
                    <a:lnTo>
                      <a:pt x="450" y="1476"/>
                    </a:lnTo>
                    <a:lnTo>
                      <a:pt x="450" y="1476"/>
                    </a:lnTo>
                    <a:lnTo>
                      <a:pt x="454" y="1482"/>
                    </a:lnTo>
                    <a:lnTo>
                      <a:pt x="454" y="1488"/>
                    </a:lnTo>
                    <a:lnTo>
                      <a:pt x="454" y="1488"/>
                    </a:lnTo>
                    <a:lnTo>
                      <a:pt x="454" y="1496"/>
                    </a:lnTo>
                    <a:lnTo>
                      <a:pt x="454" y="1496"/>
                    </a:lnTo>
                    <a:lnTo>
                      <a:pt x="454" y="1512"/>
                    </a:lnTo>
                    <a:lnTo>
                      <a:pt x="454" y="1512"/>
                    </a:lnTo>
                    <a:lnTo>
                      <a:pt x="456" y="1514"/>
                    </a:lnTo>
                    <a:lnTo>
                      <a:pt x="456" y="1514"/>
                    </a:lnTo>
                    <a:lnTo>
                      <a:pt x="460" y="1514"/>
                    </a:lnTo>
                    <a:lnTo>
                      <a:pt x="461" y="1516"/>
                    </a:lnTo>
                    <a:lnTo>
                      <a:pt x="461" y="1516"/>
                    </a:lnTo>
                    <a:lnTo>
                      <a:pt x="463" y="1520"/>
                    </a:lnTo>
                    <a:lnTo>
                      <a:pt x="461" y="1522"/>
                    </a:lnTo>
                    <a:lnTo>
                      <a:pt x="461" y="1522"/>
                    </a:lnTo>
                    <a:lnTo>
                      <a:pt x="461" y="1522"/>
                    </a:lnTo>
                    <a:lnTo>
                      <a:pt x="461" y="1535"/>
                    </a:lnTo>
                    <a:lnTo>
                      <a:pt x="461" y="1535"/>
                    </a:lnTo>
                    <a:lnTo>
                      <a:pt x="461" y="1535"/>
                    </a:lnTo>
                    <a:lnTo>
                      <a:pt x="461" y="1537"/>
                    </a:lnTo>
                    <a:lnTo>
                      <a:pt x="461" y="1537"/>
                    </a:lnTo>
                    <a:lnTo>
                      <a:pt x="465" y="1537"/>
                    </a:lnTo>
                    <a:lnTo>
                      <a:pt x="465" y="1537"/>
                    </a:lnTo>
                    <a:lnTo>
                      <a:pt x="471" y="1539"/>
                    </a:lnTo>
                    <a:lnTo>
                      <a:pt x="475" y="1543"/>
                    </a:lnTo>
                    <a:lnTo>
                      <a:pt x="475" y="1543"/>
                    </a:lnTo>
                    <a:lnTo>
                      <a:pt x="477" y="1547"/>
                    </a:lnTo>
                    <a:lnTo>
                      <a:pt x="479" y="1553"/>
                    </a:lnTo>
                    <a:lnTo>
                      <a:pt x="479" y="1553"/>
                    </a:lnTo>
                    <a:lnTo>
                      <a:pt x="479" y="1559"/>
                    </a:lnTo>
                    <a:lnTo>
                      <a:pt x="477" y="1563"/>
                    </a:lnTo>
                    <a:lnTo>
                      <a:pt x="473" y="1563"/>
                    </a:lnTo>
                    <a:lnTo>
                      <a:pt x="473" y="1563"/>
                    </a:lnTo>
                    <a:lnTo>
                      <a:pt x="471" y="1563"/>
                    </a:lnTo>
                    <a:lnTo>
                      <a:pt x="471" y="1563"/>
                    </a:lnTo>
                    <a:lnTo>
                      <a:pt x="469" y="1565"/>
                    </a:lnTo>
                    <a:lnTo>
                      <a:pt x="469" y="1565"/>
                    </a:lnTo>
                    <a:lnTo>
                      <a:pt x="469" y="1565"/>
                    </a:lnTo>
                    <a:lnTo>
                      <a:pt x="469" y="1565"/>
                    </a:lnTo>
                    <a:lnTo>
                      <a:pt x="471" y="1569"/>
                    </a:lnTo>
                    <a:lnTo>
                      <a:pt x="471" y="1569"/>
                    </a:lnTo>
                    <a:lnTo>
                      <a:pt x="477" y="1577"/>
                    </a:lnTo>
                    <a:lnTo>
                      <a:pt x="477" y="1577"/>
                    </a:lnTo>
                    <a:lnTo>
                      <a:pt x="477" y="1581"/>
                    </a:lnTo>
                    <a:lnTo>
                      <a:pt x="477" y="1585"/>
                    </a:lnTo>
                    <a:lnTo>
                      <a:pt x="477" y="1585"/>
                    </a:lnTo>
                    <a:lnTo>
                      <a:pt x="475" y="1587"/>
                    </a:lnTo>
                    <a:lnTo>
                      <a:pt x="471" y="1587"/>
                    </a:lnTo>
                    <a:lnTo>
                      <a:pt x="465" y="1589"/>
                    </a:lnTo>
                    <a:lnTo>
                      <a:pt x="465" y="1589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  <p:sp>
            <p:nvSpPr>
              <p:cNvPr id="29" name="Freeform 5638">
                <a:extLst>
                  <a:ext uri="{FF2B5EF4-FFF2-40B4-BE49-F238E27FC236}">
                    <a16:creationId xmlns:a16="http://schemas.microsoft.com/office/drawing/2014/main" id="{AEDD0329-C5E4-995E-53CE-B3789055844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4547661" y="2916789"/>
                <a:ext cx="194194" cy="133100"/>
              </a:xfrm>
              <a:custGeom>
                <a:avLst/>
                <a:gdLst>
                  <a:gd name="T0" fmla="*/ 8 w 179"/>
                  <a:gd name="T1" fmla="*/ 10 h 123"/>
                  <a:gd name="T2" fmla="*/ 8 w 179"/>
                  <a:gd name="T3" fmla="*/ 16 h 123"/>
                  <a:gd name="T4" fmla="*/ 12 w 179"/>
                  <a:gd name="T5" fmla="*/ 20 h 123"/>
                  <a:gd name="T6" fmla="*/ 18 w 179"/>
                  <a:gd name="T7" fmla="*/ 24 h 123"/>
                  <a:gd name="T8" fmla="*/ 22 w 179"/>
                  <a:gd name="T9" fmla="*/ 28 h 123"/>
                  <a:gd name="T10" fmla="*/ 24 w 179"/>
                  <a:gd name="T11" fmla="*/ 42 h 123"/>
                  <a:gd name="T12" fmla="*/ 26 w 179"/>
                  <a:gd name="T13" fmla="*/ 52 h 123"/>
                  <a:gd name="T14" fmla="*/ 24 w 179"/>
                  <a:gd name="T15" fmla="*/ 64 h 123"/>
                  <a:gd name="T16" fmla="*/ 20 w 179"/>
                  <a:gd name="T17" fmla="*/ 66 h 123"/>
                  <a:gd name="T18" fmla="*/ 18 w 179"/>
                  <a:gd name="T19" fmla="*/ 66 h 123"/>
                  <a:gd name="T20" fmla="*/ 16 w 179"/>
                  <a:gd name="T21" fmla="*/ 68 h 123"/>
                  <a:gd name="T22" fmla="*/ 14 w 179"/>
                  <a:gd name="T23" fmla="*/ 72 h 123"/>
                  <a:gd name="T24" fmla="*/ 0 w 179"/>
                  <a:gd name="T25" fmla="*/ 81 h 123"/>
                  <a:gd name="T26" fmla="*/ 0 w 179"/>
                  <a:gd name="T27" fmla="*/ 95 h 123"/>
                  <a:gd name="T28" fmla="*/ 0 w 179"/>
                  <a:gd name="T29" fmla="*/ 97 h 123"/>
                  <a:gd name="T30" fmla="*/ 2 w 179"/>
                  <a:gd name="T31" fmla="*/ 99 h 123"/>
                  <a:gd name="T32" fmla="*/ 8 w 179"/>
                  <a:gd name="T33" fmla="*/ 105 h 123"/>
                  <a:gd name="T34" fmla="*/ 24 w 179"/>
                  <a:gd name="T35" fmla="*/ 123 h 123"/>
                  <a:gd name="T36" fmla="*/ 52 w 179"/>
                  <a:gd name="T37" fmla="*/ 123 h 123"/>
                  <a:gd name="T38" fmla="*/ 62 w 179"/>
                  <a:gd name="T39" fmla="*/ 121 h 123"/>
                  <a:gd name="T40" fmla="*/ 64 w 179"/>
                  <a:gd name="T41" fmla="*/ 117 h 123"/>
                  <a:gd name="T42" fmla="*/ 68 w 179"/>
                  <a:gd name="T43" fmla="*/ 103 h 123"/>
                  <a:gd name="T44" fmla="*/ 72 w 179"/>
                  <a:gd name="T45" fmla="*/ 99 h 123"/>
                  <a:gd name="T46" fmla="*/ 72 w 179"/>
                  <a:gd name="T47" fmla="*/ 99 h 123"/>
                  <a:gd name="T48" fmla="*/ 74 w 179"/>
                  <a:gd name="T49" fmla="*/ 97 h 123"/>
                  <a:gd name="T50" fmla="*/ 74 w 179"/>
                  <a:gd name="T51" fmla="*/ 93 h 123"/>
                  <a:gd name="T52" fmla="*/ 82 w 179"/>
                  <a:gd name="T53" fmla="*/ 89 h 123"/>
                  <a:gd name="T54" fmla="*/ 91 w 179"/>
                  <a:gd name="T55" fmla="*/ 89 h 123"/>
                  <a:gd name="T56" fmla="*/ 103 w 179"/>
                  <a:gd name="T57" fmla="*/ 89 h 123"/>
                  <a:gd name="T58" fmla="*/ 105 w 179"/>
                  <a:gd name="T59" fmla="*/ 89 h 123"/>
                  <a:gd name="T60" fmla="*/ 107 w 179"/>
                  <a:gd name="T61" fmla="*/ 85 h 123"/>
                  <a:gd name="T62" fmla="*/ 111 w 179"/>
                  <a:gd name="T63" fmla="*/ 81 h 123"/>
                  <a:gd name="T64" fmla="*/ 117 w 179"/>
                  <a:gd name="T65" fmla="*/ 81 h 123"/>
                  <a:gd name="T66" fmla="*/ 121 w 179"/>
                  <a:gd name="T67" fmla="*/ 81 h 123"/>
                  <a:gd name="T68" fmla="*/ 123 w 179"/>
                  <a:gd name="T69" fmla="*/ 79 h 123"/>
                  <a:gd name="T70" fmla="*/ 133 w 179"/>
                  <a:gd name="T71" fmla="*/ 68 h 123"/>
                  <a:gd name="T72" fmla="*/ 139 w 179"/>
                  <a:gd name="T73" fmla="*/ 66 h 123"/>
                  <a:gd name="T74" fmla="*/ 143 w 179"/>
                  <a:gd name="T75" fmla="*/ 66 h 123"/>
                  <a:gd name="T76" fmla="*/ 149 w 179"/>
                  <a:gd name="T77" fmla="*/ 66 h 123"/>
                  <a:gd name="T78" fmla="*/ 153 w 179"/>
                  <a:gd name="T79" fmla="*/ 64 h 123"/>
                  <a:gd name="T80" fmla="*/ 155 w 179"/>
                  <a:gd name="T81" fmla="*/ 60 h 123"/>
                  <a:gd name="T82" fmla="*/ 161 w 179"/>
                  <a:gd name="T83" fmla="*/ 58 h 123"/>
                  <a:gd name="T84" fmla="*/ 165 w 179"/>
                  <a:gd name="T85" fmla="*/ 58 h 123"/>
                  <a:gd name="T86" fmla="*/ 167 w 179"/>
                  <a:gd name="T87" fmla="*/ 54 h 123"/>
                  <a:gd name="T88" fmla="*/ 163 w 179"/>
                  <a:gd name="T89" fmla="*/ 46 h 123"/>
                  <a:gd name="T90" fmla="*/ 161 w 179"/>
                  <a:gd name="T91" fmla="*/ 40 h 123"/>
                  <a:gd name="T92" fmla="*/ 163 w 179"/>
                  <a:gd name="T93" fmla="*/ 32 h 123"/>
                  <a:gd name="T94" fmla="*/ 171 w 179"/>
                  <a:gd name="T95" fmla="*/ 22 h 123"/>
                  <a:gd name="T96" fmla="*/ 177 w 179"/>
                  <a:gd name="T97" fmla="*/ 18 h 123"/>
                  <a:gd name="T98" fmla="*/ 177 w 179"/>
                  <a:gd name="T99" fmla="*/ 18 h 123"/>
                  <a:gd name="T100" fmla="*/ 177 w 179"/>
                  <a:gd name="T101" fmla="*/ 10 h 123"/>
                  <a:gd name="T102" fmla="*/ 177 w 179"/>
                  <a:gd name="T103" fmla="*/ 6 h 123"/>
                  <a:gd name="T104" fmla="*/ 179 w 179"/>
                  <a:gd name="T105" fmla="*/ 2 h 123"/>
                  <a:gd name="T106" fmla="*/ 175 w 179"/>
                  <a:gd name="T107" fmla="*/ 2 h 123"/>
                  <a:gd name="T108" fmla="*/ 165 w 179"/>
                  <a:gd name="T109" fmla="*/ 0 h 123"/>
                  <a:gd name="T110" fmla="*/ 145 w 179"/>
                  <a:gd name="T111" fmla="*/ 0 h 123"/>
                  <a:gd name="T112" fmla="*/ 78 w 179"/>
                  <a:gd name="T113" fmla="*/ 4 h 123"/>
                  <a:gd name="T114" fmla="*/ 8 w 179"/>
                  <a:gd name="T115" fmla="*/ 10 h 123"/>
                  <a:gd name="T116" fmla="*/ 16 w 179"/>
                  <a:gd name="T117" fmla="*/ 10 h 123"/>
                  <a:gd name="T118" fmla="*/ 34 w 179"/>
                  <a:gd name="T119" fmla="*/ 10 h 123"/>
                  <a:gd name="T120" fmla="*/ 8 w 179"/>
                  <a:gd name="T121" fmla="*/ 10 h 12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  <a:cxn ang="0">
                    <a:pos x="T86" y="T87"/>
                  </a:cxn>
                  <a:cxn ang="0">
                    <a:pos x="T88" y="T89"/>
                  </a:cxn>
                  <a:cxn ang="0">
                    <a:pos x="T90" y="T91"/>
                  </a:cxn>
                  <a:cxn ang="0">
                    <a:pos x="T92" y="T93"/>
                  </a:cxn>
                  <a:cxn ang="0">
                    <a:pos x="T94" y="T95"/>
                  </a:cxn>
                  <a:cxn ang="0">
                    <a:pos x="T96" y="T97"/>
                  </a:cxn>
                  <a:cxn ang="0">
                    <a:pos x="T98" y="T99"/>
                  </a:cxn>
                  <a:cxn ang="0">
                    <a:pos x="T100" y="T101"/>
                  </a:cxn>
                  <a:cxn ang="0">
                    <a:pos x="T102" y="T103"/>
                  </a:cxn>
                  <a:cxn ang="0">
                    <a:pos x="T104" y="T105"/>
                  </a:cxn>
                  <a:cxn ang="0">
                    <a:pos x="T106" y="T107"/>
                  </a:cxn>
                  <a:cxn ang="0">
                    <a:pos x="T108" y="T109"/>
                  </a:cxn>
                  <a:cxn ang="0">
                    <a:pos x="T110" y="T111"/>
                  </a:cxn>
                  <a:cxn ang="0">
                    <a:pos x="T112" y="T113"/>
                  </a:cxn>
                  <a:cxn ang="0">
                    <a:pos x="T114" y="T115"/>
                  </a:cxn>
                  <a:cxn ang="0">
                    <a:pos x="T116" y="T117"/>
                  </a:cxn>
                  <a:cxn ang="0">
                    <a:pos x="T118" y="T119"/>
                  </a:cxn>
                  <a:cxn ang="0">
                    <a:pos x="T120" y="T121"/>
                  </a:cxn>
                </a:cxnLst>
                <a:rect l="0" t="0" r="r" b="b"/>
                <a:pathLst>
                  <a:path w="179" h="123">
                    <a:moveTo>
                      <a:pt x="8" y="10"/>
                    </a:moveTo>
                    <a:lnTo>
                      <a:pt x="8" y="10"/>
                    </a:lnTo>
                    <a:lnTo>
                      <a:pt x="8" y="16"/>
                    </a:lnTo>
                    <a:lnTo>
                      <a:pt x="8" y="16"/>
                    </a:lnTo>
                    <a:lnTo>
                      <a:pt x="10" y="18"/>
                    </a:lnTo>
                    <a:lnTo>
                      <a:pt x="12" y="20"/>
                    </a:lnTo>
                    <a:lnTo>
                      <a:pt x="12" y="20"/>
                    </a:lnTo>
                    <a:lnTo>
                      <a:pt x="18" y="24"/>
                    </a:lnTo>
                    <a:lnTo>
                      <a:pt x="18" y="24"/>
                    </a:lnTo>
                    <a:lnTo>
                      <a:pt x="22" y="28"/>
                    </a:lnTo>
                    <a:lnTo>
                      <a:pt x="24" y="32"/>
                    </a:lnTo>
                    <a:lnTo>
                      <a:pt x="24" y="42"/>
                    </a:lnTo>
                    <a:lnTo>
                      <a:pt x="24" y="42"/>
                    </a:lnTo>
                    <a:lnTo>
                      <a:pt x="26" y="52"/>
                    </a:lnTo>
                    <a:lnTo>
                      <a:pt x="24" y="64"/>
                    </a:lnTo>
                    <a:lnTo>
                      <a:pt x="24" y="64"/>
                    </a:lnTo>
                    <a:lnTo>
                      <a:pt x="22" y="66"/>
                    </a:lnTo>
                    <a:lnTo>
                      <a:pt x="20" y="66"/>
                    </a:lnTo>
                    <a:lnTo>
                      <a:pt x="20" y="66"/>
                    </a:lnTo>
                    <a:lnTo>
                      <a:pt x="18" y="66"/>
                    </a:lnTo>
                    <a:lnTo>
                      <a:pt x="16" y="68"/>
                    </a:lnTo>
                    <a:lnTo>
                      <a:pt x="16" y="68"/>
                    </a:lnTo>
                    <a:lnTo>
                      <a:pt x="14" y="72"/>
                    </a:lnTo>
                    <a:lnTo>
                      <a:pt x="14" y="72"/>
                    </a:lnTo>
                    <a:lnTo>
                      <a:pt x="8" y="79"/>
                    </a:lnTo>
                    <a:lnTo>
                      <a:pt x="0" y="81"/>
                    </a:lnTo>
                    <a:lnTo>
                      <a:pt x="0" y="81"/>
                    </a:lnTo>
                    <a:lnTo>
                      <a:pt x="0" y="95"/>
                    </a:lnTo>
                    <a:lnTo>
                      <a:pt x="0" y="95"/>
                    </a:lnTo>
                    <a:lnTo>
                      <a:pt x="0" y="97"/>
                    </a:lnTo>
                    <a:lnTo>
                      <a:pt x="2" y="99"/>
                    </a:lnTo>
                    <a:lnTo>
                      <a:pt x="2" y="99"/>
                    </a:lnTo>
                    <a:lnTo>
                      <a:pt x="8" y="105"/>
                    </a:lnTo>
                    <a:lnTo>
                      <a:pt x="8" y="105"/>
                    </a:lnTo>
                    <a:lnTo>
                      <a:pt x="24" y="123"/>
                    </a:lnTo>
                    <a:lnTo>
                      <a:pt x="24" y="123"/>
                    </a:lnTo>
                    <a:lnTo>
                      <a:pt x="52" y="123"/>
                    </a:lnTo>
                    <a:lnTo>
                      <a:pt x="52" y="123"/>
                    </a:lnTo>
                    <a:lnTo>
                      <a:pt x="60" y="123"/>
                    </a:lnTo>
                    <a:lnTo>
                      <a:pt x="62" y="121"/>
                    </a:lnTo>
                    <a:lnTo>
                      <a:pt x="64" y="117"/>
                    </a:lnTo>
                    <a:lnTo>
                      <a:pt x="64" y="117"/>
                    </a:lnTo>
                    <a:lnTo>
                      <a:pt x="68" y="103"/>
                    </a:lnTo>
                    <a:lnTo>
                      <a:pt x="68" y="103"/>
                    </a:lnTo>
                    <a:lnTo>
                      <a:pt x="68" y="101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2" y="99"/>
                    </a:lnTo>
                    <a:lnTo>
                      <a:pt x="74" y="97"/>
                    </a:lnTo>
                    <a:lnTo>
                      <a:pt x="74" y="97"/>
                    </a:lnTo>
                    <a:lnTo>
                      <a:pt x="74" y="93"/>
                    </a:lnTo>
                    <a:lnTo>
                      <a:pt x="74" y="93"/>
                    </a:lnTo>
                    <a:lnTo>
                      <a:pt x="78" y="91"/>
                    </a:lnTo>
                    <a:lnTo>
                      <a:pt x="82" y="89"/>
                    </a:lnTo>
                    <a:lnTo>
                      <a:pt x="91" y="89"/>
                    </a:lnTo>
                    <a:lnTo>
                      <a:pt x="91" y="89"/>
                    </a:lnTo>
                    <a:lnTo>
                      <a:pt x="103" y="89"/>
                    </a:lnTo>
                    <a:lnTo>
                      <a:pt x="103" y="89"/>
                    </a:lnTo>
                    <a:lnTo>
                      <a:pt x="105" y="89"/>
                    </a:lnTo>
                    <a:lnTo>
                      <a:pt x="105" y="89"/>
                    </a:lnTo>
                    <a:lnTo>
                      <a:pt x="107" y="85"/>
                    </a:lnTo>
                    <a:lnTo>
                      <a:pt x="107" y="85"/>
                    </a:lnTo>
                    <a:lnTo>
                      <a:pt x="109" y="83"/>
                    </a:lnTo>
                    <a:lnTo>
                      <a:pt x="111" y="81"/>
                    </a:lnTo>
                    <a:lnTo>
                      <a:pt x="111" y="81"/>
                    </a:lnTo>
                    <a:lnTo>
                      <a:pt x="117" y="81"/>
                    </a:lnTo>
                    <a:lnTo>
                      <a:pt x="117" y="81"/>
                    </a:lnTo>
                    <a:lnTo>
                      <a:pt x="121" y="81"/>
                    </a:lnTo>
                    <a:lnTo>
                      <a:pt x="123" y="79"/>
                    </a:lnTo>
                    <a:lnTo>
                      <a:pt x="123" y="79"/>
                    </a:lnTo>
                    <a:lnTo>
                      <a:pt x="127" y="74"/>
                    </a:lnTo>
                    <a:lnTo>
                      <a:pt x="133" y="68"/>
                    </a:lnTo>
                    <a:lnTo>
                      <a:pt x="133" y="68"/>
                    </a:lnTo>
                    <a:lnTo>
                      <a:pt x="139" y="66"/>
                    </a:lnTo>
                    <a:lnTo>
                      <a:pt x="143" y="66"/>
                    </a:lnTo>
                    <a:lnTo>
                      <a:pt x="143" y="66"/>
                    </a:lnTo>
                    <a:lnTo>
                      <a:pt x="149" y="66"/>
                    </a:lnTo>
                    <a:lnTo>
                      <a:pt x="149" y="66"/>
                    </a:lnTo>
                    <a:lnTo>
                      <a:pt x="153" y="66"/>
                    </a:lnTo>
                    <a:lnTo>
                      <a:pt x="153" y="64"/>
                    </a:lnTo>
                    <a:lnTo>
                      <a:pt x="153" y="64"/>
                    </a:lnTo>
                    <a:lnTo>
                      <a:pt x="155" y="60"/>
                    </a:lnTo>
                    <a:lnTo>
                      <a:pt x="157" y="58"/>
                    </a:lnTo>
                    <a:lnTo>
                      <a:pt x="161" y="58"/>
                    </a:lnTo>
                    <a:lnTo>
                      <a:pt x="161" y="58"/>
                    </a:lnTo>
                    <a:lnTo>
                      <a:pt x="165" y="58"/>
                    </a:lnTo>
                    <a:lnTo>
                      <a:pt x="167" y="56"/>
                    </a:lnTo>
                    <a:lnTo>
                      <a:pt x="167" y="54"/>
                    </a:lnTo>
                    <a:lnTo>
                      <a:pt x="167" y="54"/>
                    </a:lnTo>
                    <a:lnTo>
                      <a:pt x="163" y="46"/>
                    </a:lnTo>
                    <a:lnTo>
                      <a:pt x="163" y="46"/>
                    </a:lnTo>
                    <a:lnTo>
                      <a:pt x="161" y="40"/>
                    </a:lnTo>
                    <a:lnTo>
                      <a:pt x="163" y="32"/>
                    </a:lnTo>
                    <a:lnTo>
                      <a:pt x="163" y="32"/>
                    </a:lnTo>
                    <a:lnTo>
                      <a:pt x="167" y="26"/>
                    </a:lnTo>
                    <a:lnTo>
                      <a:pt x="171" y="22"/>
                    </a:lnTo>
                    <a:lnTo>
                      <a:pt x="171" y="22"/>
                    </a:lnTo>
                    <a:lnTo>
                      <a:pt x="177" y="18"/>
                    </a:lnTo>
                    <a:lnTo>
                      <a:pt x="177" y="18"/>
                    </a:lnTo>
                    <a:lnTo>
                      <a:pt x="177" y="18"/>
                    </a:lnTo>
                    <a:lnTo>
                      <a:pt x="179" y="14"/>
                    </a:lnTo>
                    <a:lnTo>
                      <a:pt x="177" y="10"/>
                    </a:lnTo>
                    <a:lnTo>
                      <a:pt x="177" y="10"/>
                    </a:lnTo>
                    <a:lnTo>
                      <a:pt x="177" y="6"/>
                    </a:lnTo>
                    <a:lnTo>
                      <a:pt x="177" y="6"/>
                    </a:lnTo>
                    <a:lnTo>
                      <a:pt x="179" y="2"/>
                    </a:lnTo>
                    <a:lnTo>
                      <a:pt x="175" y="2"/>
                    </a:lnTo>
                    <a:lnTo>
                      <a:pt x="175" y="2"/>
                    </a:lnTo>
                    <a:lnTo>
                      <a:pt x="165" y="0"/>
                    </a:lnTo>
                    <a:lnTo>
                      <a:pt x="165" y="0"/>
                    </a:lnTo>
                    <a:lnTo>
                      <a:pt x="145" y="0"/>
                    </a:lnTo>
                    <a:lnTo>
                      <a:pt x="145" y="0"/>
                    </a:lnTo>
                    <a:lnTo>
                      <a:pt x="111" y="2"/>
                    </a:lnTo>
                    <a:lnTo>
                      <a:pt x="78" y="4"/>
                    </a:lnTo>
                    <a:lnTo>
                      <a:pt x="44" y="8"/>
                    </a:lnTo>
                    <a:lnTo>
                      <a:pt x="8" y="10"/>
                    </a:lnTo>
                    <a:lnTo>
                      <a:pt x="8" y="10"/>
                    </a:lnTo>
                    <a:lnTo>
                      <a:pt x="16" y="10"/>
                    </a:lnTo>
                    <a:lnTo>
                      <a:pt x="30" y="10"/>
                    </a:lnTo>
                    <a:lnTo>
                      <a:pt x="34" y="10"/>
                    </a:lnTo>
                    <a:lnTo>
                      <a:pt x="34" y="10"/>
                    </a:lnTo>
                    <a:lnTo>
                      <a:pt x="8" y="10"/>
                    </a:lnTo>
                    <a:lnTo>
                      <a:pt x="8" y="1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182880" tIns="91440" rIns="182880" bIns="91440" numCol="1" anchor="t" anchorCtr="0" compatLnSpc="1">
                <a:prstTxWarp prst="textNoShape">
                  <a:avLst/>
                </a:prstTxWarp>
              </a:bodyPr>
              <a:lstStyle/>
              <a:p>
                <a:pPr algn="l" defTabSz="1828708" rtl="0"/>
                <a:endParaRPr lang="en-US" sz="2702" kern="1200">
                  <a:solidFill>
                    <a:srgbClr val="102C51"/>
                  </a:solidFill>
                  <a:cs typeface="+mn-ea"/>
                  <a:sym typeface="+mn-lt"/>
                </a:endParaRPr>
              </a:p>
            </p:txBody>
          </p:sp>
        </p:grpSp>
      </p:grpSp>
      <p:sp>
        <p:nvSpPr>
          <p:cNvPr id="37" name="Прямоугольник 36">
            <a:extLst>
              <a:ext uri="{FF2B5EF4-FFF2-40B4-BE49-F238E27FC236}">
                <a16:creationId xmlns:a16="http://schemas.microsoft.com/office/drawing/2014/main" id="{8DCCBFAF-9B49-7E6F-47D0-00A49F9D4375}"/>
              </a:ext>
            </a:extLst>
          </p:cNvPr>
          <p:cNvSpPr/>
          <p:nvPr/>
        </p:nvSpPr>
        <p:spPr>
          <a:xfrm>
            <a:off x="1482577" y="4298759"/>
            <a:ext cx="8478174" cy="7315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 smtClean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Сопровождение валютных контрактов в рамках ТП Старт </a:t>
            </a:r>
            <a:r>
              <a:rPr lang="ru-RU" sz="2000" dirty="0" err="1" smtClean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Вэд</a:t>
            </a:r>
            <a:endParaRPr lang="ru-RU" sz="2000" dirty="0">
              <a:solidFill>
                <a:srgbClr val="102C51"/>
              </a:solidFill>
              <a:latin typeface="Formular" panose="02000000000000000000" pitchFamily="2" charset="0"/>
              <a:cs typeface="+mn-ea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8123314" y="3019025"/>
            <a:ext cx="39110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Расчеты ВЭД </a:t>
            </a:r>
            <a:r>
              <a:rPr lang="ru-RU" sz="2400" dirty="0">
                <a:solidFill>
                  <a:srgbClr val="C00000"/>
                </a:solidFill>
                <a:latin typeface="Formular" panose="02000000000000000000" pitchFamily="2" charset="0"/>
                <a:cs typeface="+mn-ea"/>
              </a:rPr>
              <a:t>без перевода контрактов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246407" y="1421870"/>
            <a:ext cx="424036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400" dirty="0" smtClean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Постановка </a:t>
            </a:r>
            <a:r>
              <a:rPr lang="ru-RU" sz="2400" dirty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контракта - </a:t>
            </a:r>
            <a:r>
              <a:rPr lang="ru-RU" sz="2400" dirty="0">
                <a:solidFill>
                  <a:srgbClr val="C00000"/>
                </a:solidFill>
                <a:latin typeface="Formular" panose="02000000000000000000" pitchFamily="2" charset="0"/>
                <a:cs typeface="+mn-ea"/>
              </a:rPr>
              <a:t>бесплатно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8123314" y="1422320"/>
            <a:ext cx="399022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dirty="0">
                <a:solidFill>
                  <a:srgbClr val="C00000"/>
                </a:solidFill>
                <a:latin typeface="Times New Roman" panose="02020603050405020304" pitchFamily="18" charset="0"/>
              </a:rPr>
              <a:t> </a:t>
            </a:r>
            <a:r>
              <a:rPr lang="ru-RU" sz="2400" dirty="0">
                <a:solidFill>
                  <a:srgbClr val="C00000"/>
                </a:solidFill>
                <a:latin typeface="Formular" panose="02000000000000000000" pitchFamily="2" charset="0"/>
                <a:cs typeface="+mn-ea"/>
              </a:rPr>
              <a:t>Персональный</a:t>
            </a:r>
            <a:r>
              <a:rPr lang="ru-RU" sz="2400" dirty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 валютный контролер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246407" y="2653172"/>
            <a:ext cx="420700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2400" dirty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Возможность </a:t>
            </a:r>
            <a:r>
              <a:rPr lang="ru-RU" sz="2400" dirty="0">
                <a:solidFill>
                  <a:srgbClr val="C00000"/>
                </a:solidFill>
                <a:latin typeface="Formular" panose="02000000000000000000" pitchFamily="2" charset="0"/>
                <a:cs typeface="+mn-ea"/>
              </a:rPr>
              <a:t>индивидуального</a:t>
            </a:r>
            <a:r>
              <a:rPr lang="ru-RU" sz="2400" dirty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 установления комиссии</a:t>
            </a:r>
          </a:p>
        </p:txBody>
      </p:sp>
      <p:pic>
        <p:nvPicPr>
          <p:cNvPr id="43" name="Рисунок 42">
            <a:extLst>
              <a:ext uri="{FF2B5EF4-FFF2-40B4-BE49-F238E27FC236}">
                <a16:creationId xmlns:a16="http://schemas.microsoft.com/office/drawing/2014/main" id="{1178BC3D-611D-4999-102F-F225F644E6A5}"/>
              </a:ext>
            </a:extLst>
          </p:cNvPr>
          <p:cNvPicPr>
            <a:picLocks noChangeAspect="1"/>
          </p:cNvPicPr>
          <p:nvPr/>
        </p:nvPicPr>
        <p:blipFill>
          <a:blip r:embed="rId5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4080875" y="2215215"/>
            <a:ext cx="936000" cy="936000"/>
          </a:xfrm>
          <a:prstGeom prst="rect">
            <a:avLst/>
          </a:prstGeom>
        </p:spPr>
      </p:pic>
      <p:pic>
        <p:nvPicPr>
          <p:cNvPr id="44" name="Рисунок 43">
            <a:extLst>
              <a:ext uri="{FF2B5EF4-FFF2-40B4-BE49-F238E27FC236}">
                <a16:creationId xmlns:a16="http://schemas.microsoft.com/office/drawing/2014/main" id="{A7278133-D652-9F72-D117-89E65525B7A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accent1">
                <a:tint val="45000"/>
                <a:satMod val="400000"/>
              </a:schemeClr>
            </a:duotone>
          </a:blip>
          <a:stretch>
            <a:fillRect/>
          </a:stretch>
        </p:blipFill>
        <p:spPr>
          <a:xfrm>
            <a:off x="7163383" y="2209624"/>
            <a:ext cx="936000" cy="936000"/>
          </a:xfrm>
          <a:prstGeom prst="rect">
            <a:avLst/>
          </a:prstGeom>
        </p:spPr>
      </p:pic>
      <p:cxnSp>
        <p:nvCxnSpPr>
          <p:cNvPr id="45" name="Прямая соединительная линия 44"/>
          <p:cNvCxnSpPr/>
          <p:nvPr/>
        </p:nvCxnSpPr>
        <p:spPr>
          <a:xfrm flipV="1">
            <a:off x="373185" y="4388193"/>
            <a:ext cx="11371138" cy="22274"/>
          </a:xfrm>
          <a:prstGeom prst="line">
            <a:avLst/>
          </a:prstGeom>
          <a:ln w="222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46" name="Прямоугольник 45"/>
          <p:cNvSpPr/>
          <p:nvPr/>
        </p:nvSpPr>
        <p:spPr>
          <a:xfrm>
            <a:off x="153880" y="4955616"/>
            <a:ext cx="20954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 П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о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операциям в 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USD/EUR</a:t>
            </a:r>
            <a:r>
              <a:rPr lang="en-US" sz="1200" b="1" dirty="0"/>
              <a:t> </a:t>
            </a:r>
            <a:endParaRPr lang="ru-RU" sz="1200" b="1" dirty="0"/>
          </a:p>
        </p:txBody>
      </p:sp>
      <p:sp>
        <p:nvSpPr>
          <p:cNvPr id="47" name="Прямоугольник 46"/>
          <p:cNvSpPr/>
          <p:nvPr/>
        </p:nvSpPr>
        <p:spPr>
          <a:xfrm>
            <a:off x="198270" y="528168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0,1% от суммы каждого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платежа</a:t>
            </a:r>
            <a:r>
              <a:rPr lang="ru-RU" sz="1200" baseline="300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endParaRPr lang="en-US" sz="1200" baseline="30000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(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не менее 15 USD/EUR  и не более 500 USD/EUR )</a:t>
            </a:r>
            <a:r>
              <a:rPr lang="ru-RU" sz="1200" dirty="0"/>
              <a:t> </a:t>
            </a:r>
          </a:p>
        </p:txBody>
      </p:sp>
      <p:sp>
        <p:nvSpPr>
          <p:cNvPr id="48" name="Прямоугольник 47"/>
          <p:cNvSpPr/>
          <p:nvPr/>
        </p:nvSpPr>
        <p:spPr>
          <a:xfrm>
            <a:off x="8034991" y="4982522"/>
            <a:ext cx="2731902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 П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о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операциям в российских рублях 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8095547" y="5223703"/>
            <a:ext cx="33300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0,1% от суммы каждого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платежа</a:t>
            </a:r>
            <a:endParaRPr lang="ru-RU" sz="1200" baseline="30000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(не менее 400 руб.  и не более 95 000 руб. ) </a:t>
            </a:r>
            <a:endParaRPr lang="ru-RU" sz="1200" dirty="0"/>
          </a:p>
        </p:txBody>
      </p:sp>
      <p:sp>
        <p:nvSpPr>
          <p:cNvPr id="50" name="Прямоугольник 49"/>
          <p:cNvSpPr/>
          <p:nvPr/>
        </p:nvSpPr>
        <p:spPr>
          <a:xfrm>
            <a:off x="145002" y="5798368"/>
            <a:ext cx="4049570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П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о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операциям в валюте отличной 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от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USD, EUR и СNY 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05293" y="6073608"/>
            <a:ext cx="6096000" cy="461665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0,15% от суммы каждого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платежа</a:t>
            </a:r>
            <a:endParaRPr lang="ru-RU" sz="1200" baseline="30000" dirty="0" smtClean="0">
              <a:solidFill>
                <a:srgbClr val="000000"/>
              </a:solidFill>
              <a:latin typeface="Times New Roman" panose="02020603050405020304" pitchFamily="18" charset="0"/>
            </a:endParaRPr>
          </a:p>
          <a:p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(не менее 15 USD  и не более 700 USD )</a:t>
            </a:r>
            <a:r>
              <a:rPr lang="ru-RU" sz="1200" dirty="0"/>
              <a:t> </a:t>
            </a:r>
          </a:p>
        </p:txBody>
      </p:sp>
      <p:sp>
        <p:nvSpPr>
          <p:cNvPr id="52" name="Прямоугольник 51"/>
          <p:cNvSpPr/>
          <p:nvPr/>
        </p:nvSpPr>
        <p:spPr>
          <a:xfrm>
            <a:off x="8122209" y="5769761"/>
            <a:ext cx="17434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П</a:t>
            </a:r>
            <a:r>
              <a:rPr lang="ru-RU" sz="1200" b="1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о </a:t>
            </a:r>
            <a:r>
              <a:rPr lang="ru-RU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операциям в С</a:t>
            </a:r>
            <a:r>
              <a:rPr lang="en-US" sz="1200" b="1" dirty="0">
                <a:solidFill>
                  <a:srgbClr val="000000"/>
                </a:solidFill>
                <a:latin typeface="Times New Roman" panose="02020603050405020304" pitchFamily="18" charset="0"/>
              </a:rPr>
              <a:t>NY </a:t>
            </a:r>
            <a:endParaRPr lang="ru-RU" sz="1200" b="1" dirty="0">
              <a:solidFill>
                <a:srgbClr val="000000"/>
              </a:solidFill>
              <a:latin typeface="Times New Roman" panose="02020603050405020304" pitchFamily="18" charset="0"/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8194089" y="6141246"/>
            <a:ext cx="299397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0,15% от суммы каждого </a:t>
            </a:r>
            <a:r>
              <a:rPr lang="ru-RU" sz="1200" dirty="0" smtClean="0">
                <a:solidFill>
                  <a:srgbClr val="000000"/>
                </a:solidFill>
                <a:latin typeface="Times New Roman" panose="02020603050405020304" pitchFamily="18" charset="0"/>
              </a:rPr>
              <a:t>платежа </a:t>
            </a:r>
            <a:r>
              <a:rPr lang="ru-RU" sz="1200" dirty="0">
                <a:solidFill>
                  <a:srgbClr val="000000"/>
                </a:solidFill>
                <a:latin typeface="Times New Roman" panose="02020603050405020304" pitchFamily="18" charset="0"/>
              </a:rPr>
              <a:t>(не менее 100 СNY  и не более 1000 СNY )</a:t>
            </a:r>
            <a:r>
              <a:rPr lang="ru-RU" sz="1200" dirty="0"/>
              <a:t> </a:t>
            </a:r>
          </a:p>
        </p:txBody>
      </p:sp>
      <p:grpSp>
        <p:nvGrpSpPr>
          <p:cNvPr id="54" name="Группа 53"/>
          <p:cNvGrpSpPr/>
          <p:nvPr/>
        </p:nvGrpSpPr>
        <p:grpSpPr>
          <a:xfrm>
            <a:off x="5387154" y="5249218"/>
            <a:ext cx="1330178" cy="840583"/>
            <a:chOff x="1038073" y="1894771"/>
            <a:chExt cx="1553507" cy="1914805"/>
          </a:xfrm>
        </p:grpSpPr>
        <p:sp>
          <p:nvSpPr>
            <p:cNvPr id="55" name="Oval 785">
              <a:extLst>
                <a:ext uri="{FF2B5EF4-FFF2-40B4-BE49-F238E27FC236}">
                  <a16:creationId xmlns:a16="http://schemas.microsoft.com/office/drawing/2014/main" id="{694B42C2-5C62-9BEB-4153-D98B1E8724BB}"/>
                </a:ext>
              </a:extLst>
            </p:cNvPr>
            <p:cNvSpPr/>
            <p:nvPr/>
          </p:nvSpPr>
          <p:spPr>
            <a:xfrm>
              <a:off x="1038073" y="1905000"/>
              <a:ext cx="1543355" cy="1543353"/>
            </a:xfrm>
            <a:prstGeom prst="ellipse">
              <a:avLst/>
            </a:prstGeom>
            <a:solidFill>
              <a:srgbClr val="2E3765"/>
            </a:solidFill>
            <a:ln>
              <a:solidFill>
                <a:srgbClr val="4597D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 dirty="0">
                <a:solidFill>
                  <a:srgbClr val="102C51"/>
                </a:solidFill>
                <a:cs typeface="+mn-ea"/>
                <a:sym typeface="+mn-lt"/>
              </a:endParaRPr>
            </a:p>
          </p:txBody>
        </p:sp>
        <p:sp>
          <p:nvSpPr>
            <p:cNvPr id="56" name="Pie 786">
              <a:extLst>
                <a:ext uri="{FF2B5EF4-FFF2-40B4-BE49-F238E27FC236}">
                  <a16:creationId xmlns:a16="http://schemas.microsoft.com/office/drawing/2014/main" id="{920B925F-114A-F2FF-4E00-98EF888DD5EE}"/>
                </a:ext>
              </a:extLst>
            </p:cNvPr>
            <p:cNvSpPr/>
            <p:nvPr/>
          </p:nvSpPr>
          <p:spPr>
            <a:xfrm>
              <a:off x="1038073" y="1894771"/>
              <a:ext cx="1553507" cy="1553506"/>
            </a:xfrm>
            <a:prstGeom prst="pie">
              <a:avLst>
                <a:gd name="adj1" fmla="val 10953968"/>
                <a:gd name="adj2" fmla="val 3026023"/>
              </a:avLst>
            </a:prstGeom>
            <a:solidFill>
              <a:srgbClr val="9600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>
                <a:solidFill>
                  <a:srgbClr val="102C51"/>
                </a:solidFill>
                <a:cs typeface="+mn-ea"/>
                <a:sym typeface="+mn-lt"/>
              </a:endParaRPr>
            </a:p>
          </p:txBody>
        </p:sp>
        <p:sp>
          <p:nvSpPr>
            <p:cNvPr id="57" name="Oval 787">
              <a:extLst>
                <a:ext uri="{FF2B5EF4-FFF2-40B4-BE49-F238E27FC236}">
                  <a16:creationId xmlns:a16="http://schemas.microsoft.com/office/drawing/2014/main" id="{C00FC037-FA93-53CE-FE41-75B134E6FED9}"/>
                </a:ext>
              </a:extLst>
            </p:cNvPr>
            <p:cNvSpPr/>
            <p:nvPr/>
          </p:nvSpPr>
          <p:spPr>
            <a:xfrm>
              <a:off x="1281570" y="2148496"/>
              <a:ext cx="1118393" cy="1056358"/>
            </a:xfrm>
            <a:prstGeom prst="ellipse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1200" b="1" dirty="0" smtClean="0">
                  <a:solidFill>
                    <a:srgbClr val="102C51"/>
                  </a:solidFill>
                  <a:cs typeface="+mn-ea"/>
                  <a:sym typeface="+mn-lt"/>
                </a:rPr>
                <a:t>Рынок</a:t>
              </a:r>
              <a:endParaRPr lang="en-US" sz="1200" b="1" dirty="0">
                <a:solidFill>
                  <a:srgbClr val="102C51"/>
                </a:solidFill>
                <a:cs typeface="+mn-ea"/>
                <a:sym typeface="+mn-lt"/>
              </a:endParaRPr>
            </a:p>
          </p:txBody>
        </p:sp>
        <p:sp>
          <p:nvSpPr>
            <p:cNvPr id="58" name="Isosceles Triangle 784">
              <a:extLst>
                <a:ext uri="{FF2B5EF4-FFF2-40B4-BE49-F238E27FC236}">
                  <a16:creationId xmlns:a16="http://schemas.microsoft.com/office/drawing/2014/main" id="{DE2DE290-BCF9-9A79-F9BB-9DF529BC7E92}"/>
                </a:ext>
              </a:extLst>
            </p:cNvPr>
            <p:cNvSpPr/>
            <p:nvPr/>
          </p:nvSpPr>
          <p:spPr>
            <a:xfrm rot="10800000">
              <a:off x="1645971" y="3594412"/>
              <a:ext cx="327555" cy="215164"/>
            </a:xfrm>
            <a:prstGeom prst="triangle">
              <a:avLst/>
            </a:prstGeom>
            <a:solidFill>
              <a:srgbClr val="1D4F9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0000">
                <a:solidFill>
                  <a:srgbClr val="102C51"/>
                </a:solidFill>
                <a:cs typeface="+mn-ea"/>
                <a:sym typeface="+mn-lt"/>
              </a:endParaRPr>
            </a:p>
          </p:txBody>
        </p:sp>
      </p:grpSp>
      <p:sp>
        <p:nvSpPr>
          <p:cNvPr id="59" name="Прямоугольник 58">
            <a:extLst>
              <a:ext uri="{FF2B5EF4-FFF2-40B4-BE49-F238E27FC236}">
                <a16:creationId xmlns:a16="http://schemas.microsoft.com/office/drawing/2014/main" id="{ABE97483-1AA5-C47C-5669-80F9F965315F}"/>
              </a:ext>
            </a:extLst>
          </p:cNvPr>
          <p:cNvSpPr/>
          <p:nvPr/>
        </p:nvSpPr>
        <p:spPr>
          <a:xfrm>
            <a:off x="5534932" y="6238135"/>
            <a:ext cx="1241691" cy="3211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600" dirty="0" smtClean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~</a:t>
            </a:r>
            <a:r>
              <a:rPr lang="ru-RU" sz="1600" dirty="0" smtClean="0">
                <a:solidFill>
                  <a:srgbClr val="102C51"/>
                </a:solidFill>
                <a:latin typeface="Formular" panose="02000000000000000000" pitchFamily="2" charset="0"/>
                <a:cs typeface="+mn-ea"/>
              </a:rPr>
              <a:t> 0,15</a:t>
            </a:r>
            <a:endParaRPr lang="ru-RU" sz="1600" dirty="0">
              <a:solidFill>
                <a:srgbClr val="102C51"/>
              </a:solidFill>
              <a:latin typeface="Formular" panose="02000000000000000000" pitchFamily="2" charset="0"/>
              <a:cs typeface="+mn-ea"/>
            </a:endParaRPr>
          </a:p>
        </p:txBody>
      </p:sp>
      <p:sp>
        <p:nvSpPr>
          <p:cNvPr id="60" name="Isosceles Triangle 784">
            <a:extLst>
              <a:ext uri="{FF2B5EF4-FFF2-40B4-BE49-F238E27FC236}">
                <a16:creationId xmlns:a16="http://schemas.microsoft.com/office/drawing/2014/main" id="{DE2DE290-BCF9-9A79-F9BB-9DF529BC7E92}"/>
              </a:ext>
            </a:extLst>
          </p:cNvPr>
          <p:cNvSpPr/>
          <p:nvPr/>
        </p:nvSpPr>
        <p:spPr>
          <a:xfrm rot="10800000">
            <a:off x="949911" y="3939768"/>
            <a:ext cx="1796524" cy="2055578"/>
          </a:xfrm>
          <a:prstGeom prst="triangle">
            <a:avLst/>
          </a:prstGeom>
          <a:solidFill>
            <a:srgbClr val="1D4F91">
              <a:alpha val="42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000">
              <a:solidFill>
                <a:srgbClr val="102C51"/>
              </a:solidFill>
              <a:cs typeface="+mn-ea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74288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3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87239" y="184294"/>
            <a:ext cx="5104659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 smtClean="0">
                <a:latin typeface="Formular" panose="02000000000000000000"/>
              </a:rPr>
              <a:t>Базовые комиссии по ВЭД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8" name="Объект 2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323753199"/>
              </p:ext>
            </p:extLst>
          </p:nvPr>
        </p:nvGraphicFramePr>
        <p:xfrm>
          <a:off x="287239" y="553626"/>
          <a:ext cx="11299900" cy="5431790"/>
        </p:xfrm>
        <a:graphic>
          <a:graphicData uri="http://schemas.openxmlformats.org/drawingml/2006/table">
            <a:tbl>
              <a:tblPr/>
              <a:tblGrid>
                <a:gridCol w="6705990">
                  <a:extLst>
                    <a:ext uri="{9D8B030D-6E8A-4147-A177-3AD203B41FA5}">
                      <a16:colId xmlns:a16="http://schemas.microsoft.com/office/drawing/2014/main" val="1407654451"/>
                    </a:ext>
                  </a:extLst>
                </a:gridCol>
                <a:gridCol w="4593910">
                  <a:extLst>
                    <a:ext uri="{9D8B030D-6E8A-4147-A177-3AD203B41FA5}">
                      <a16:colId xmlns:a16="http://schemas.microsoft.com/office/drawing/2014/main" val="2336878828"/>
                    </a:ext>
                  </a:extLst>
                </a:gridCol>
              </a:tblGrid>
              <a:tr h="319441">
                <a:tc>
                  <a:txBody>
                    <a:bodyPr/>
                    <a:lstStyle/>
                    <a:p>
                      <a:pPr marL="0" algn="ctr" defTabSz="932962" rtl="0" eaLnBrk="1" fontAlgn="t" latinLnBrk="0" hangingPunct="1">
                        <a:spcAft>
                          <a:spcPts val="0"/>
                        </a:spcAft>
                      </a:pPr>
                      <a:endParaRPr lang="ru-RU" sz="1000" b="1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algn="ctr" defTabSz="932962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Операция</a:t>
                      </a:r>
                      <a:endParaRPr lang="ru-RU" sz="1600" b="1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32962" rtl="0" eaLnBrk="1" fontAlgn="t" latinLnBrk="0" hangingPunct="1">
                        <a:spcAft>
                          <a:spcPts val="0"/>
                        </a:spcAft>
                      </a:pPr>
                      <a:endParaRPr lang="ru-RU" sz="1000" b="1" kern="1200" dirty="0" smtClean="0">
                        <a:solidFill>
                          <a:srgbClr val="FFFFFF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marL="0" algn="ctr" defTabSz="932962" rtl="0" eaLnBrk="1" fontAlgn="t" latinLnBrk="0" hangingPunct="1">
                        <a:spcAft>
                          <a:spcPts val="0"/>
                        </a:spcAft>
                      </a:pPr>
                      <a:r>
                        <a:rPr lang="ru-RU" sz="1600" b="1" kern="1200" dirty="0" smtClean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Комиссия</a:t>
                      </a:r>
                      <a:endParaRPr lang="ru-RU" sz="1600" b="1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32329538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долларах США USD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,  (мин.  150 USD,  макс.  450 USD) 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91037290"/>
                  </a:ext>
                </a:extLst>
              </a:tr>
              <a:tr h="2398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евро </a:t>
                      </a:r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EUR</a:t>
                      </a: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, (мин. 150 EUR, макс. 450 EUR) 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85090"/>
                  </a:ext>
                </a:extLst>
              </a:tr>
              <a:tr h="23988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евро EUR через корреспондентский счет  NUROL INVESTMENT BANK INC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2% от суммы (мин. 150 EUR, макс. 500 EUR)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56463745"/>
                  </a:ext>
                </a:extLst>
              </a:tr>
              <a:tr h="126253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китайских юанях СNY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00 СNY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8198431"/>
                  </a:ext>
                </a:extLst>
              </a:tr>
              <a:tr h="30300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турецких лирах 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TRY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через корреспондентский счет 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KTIF YATIRIM BANKASI A.S.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пользу клиентов </a:t>
                      </a:r>
                      <a:r>
                        <a:rPr lang="en-US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AKTIF YATIRIM BANKASI A.S.</a:t>
                      </a:r>
                    </a:p>
                  </a:txBody>
                  <a:tcPr marL="7200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6% от суммы 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16934795"/>
                  </a:ext>
                </a:extLst>
              </a:tr>
              <a:tr h="303008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турецких лирах TRY через корреспондентский счет AKTIF YATIRIM BANKASI A.S. в пользу клиентов других банков Турции</a:t>
                      </a:r>
                    </a:p>
                  </a:txBody>
                  <a:tcPr marL="7200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% от суммы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21178495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TRY через корреспондентский счет  NUROL INVESTMENT BANK INC</a:t>
                      </a:r>
                    </a:p>
                  </a:txBody>
                  <a:tcPr marL="7200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2% от суммы (мин. 100 TRY, макс. 500 TRY)</a:t>
                      </a:r>
                    </a:p>
                  </a:txBody>
                  <a:tcPr marL="7200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35592491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валюте отличные от USD, EUR, СNY,TRY, BYN, KGS, KZT, HKD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2% от суммы перевода,  мин. 40 USD,  макс.  150 USD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5696278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 белорусских рублях BYN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 (мин. 15 USD макс. 150 USD )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796262544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 киргизских сомах KGS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 (мин. 10 USD макс. 100 USD )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740428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Казахстанских тенге KZT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20 USD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83947562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в пользу клиентов других банков в гонконгских долларах (HKD)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 (мин. 250 HKD)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72890865"/>
                  </a:ext>
                </a:extLst>
              </a:tr>
              <a:tr h="12625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Отмена или изменение инструкций в переводе: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33890341"/>
                  </a:ext>
                </a:extLst>
              </a:tr>
              <a:tr h="126253"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после осуществления платежа Банком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30 USD  </a:t>
                      </a:r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перевод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17342198"/>
                  </a:ext>
                </a:extLst>
              </a:tr>
              <a:tr h="126253">
                <a:tc>
                  <a:txBody>
                    <a:bodyPr/>
                    <a:lstStyle/>
                    <a:p>
                      <a:pPr algn="l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-до осуществления платежа Банком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en-US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15 USD  </a:t>
                      </a:r>
                      <a:r>
                        <a:rPr lang="ru-RU" sz="1000" b="1" i="0" u="none" strike="noStrike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 перевод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45970926"/>
                  </a:ext>
                </a:extLst>
              </a:tr>
              <a:tr h="214630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Запрос о платеже и/или выяснении в связи с неполными или неправильными инструкциями клиента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 USD (по курсу ЦБ) + компенсация расходов Банка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78639130"/>
                  </a:ext>
                </a:extLst>
              </a:tr>
              <a:tr h="392066">
                <a:tc gridSpan="2">
                  <a:txBody>
                    <a:bodyPr/>
                    <a:lstStyle/>
                    <a:p>
                      <a:pPr algn="ctr" fontAlgn="t"/>
                      <a:endParaRPr lang="ru-RU" sz="1000" b="1" i="0" u="none" strike="noStrike" dirty="0" smtClean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  <a:p>
                      <a:pPr algn="ctr" fontAlgn="t"/>
                      <a:r>
                        <a:rPr lang="ru-RU" sz="10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Переводы 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в пользу клиентов других банков в индийской рупии (INR) через корреспондентский счет, открытый в ПАО Сбербанк, а также филиалы ПАО Сбербанк, расположенные за границей РФ, с расходами за счет:</a:t>
                      </a:r>
                    </a:p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 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5229556"/>
                  </a:ext>
                </a:extLst>
              </a:tr>
              <a:tr h="429261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- отправителя перевода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0,1% от суммы, </a:t>
                      </a:r>
                      <a:b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in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50  долл. США и </a:t>
                      </a:r>
                      <a:r>
                        <a:rPr lang="ru-RU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max</a:t>
                      </a:r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300 долл. США за платеж</a:t>
                      </a:r>
                      <a:b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</a:br>
                      <a:endParaRPr lang="ru-RU" sz="1000" b="1" i="0" u="none" strike="noStrike" dirty="0">
                        <a:solidFill>
                          <a:srgbClr val="000000"/>
                        </a:solidFill>
                        <a:effectLst/>
                        <a:latin typeface="Times New Roman" panose="02020603050405020304" pitchFamily="18" charset="0"/>
                      </a:endParaRP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7319226"/>
                  </a:ext>
                </a:extLst>
              </a:tr>
              <a:tr h="126253">
                <a:tc>
                  <a:txBody>
                    <a:bodyPr/>
                    <a:lstStyle/>
                    <a:p>
                      <a:pPr algn="just" fontAlgn="t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   - бенефициара</a:t>
                      </a:r>
                    </a:p>
                  </a:txBody>
                  <a:tcPr marL="72000" marR="0" marT="0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</a:rPr>
                        <a:t>50 долл. США за платеж</a:t>
                      </a:r>
                    </a:p>
                  </a:txBody>
                  <a:tcPr marL="7200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88430283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287239" y="6120974"/>
            <a:ext cx="11128367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>
                <a:solidFill>
                  <a:schemeClr val="accent6">
                    <a:lumMod val="25000"/>
                  </a:schemeClr>
                </a:solidFill>
              </a:rPr>
              <a:t>Сборник тарифов размещен на сайте банка в разделе  Среднему и малому бизнесу /  РКО / Тарифы РКО / ТП Базовый по ссылке:</a:t>
            </a:r>
          </a:p>
          <a:p>
            <a:r>
              <a:rPr lang="en-US" sz="1400" dirty="0" smtClean="0">
                <a:solidFill>
                  <a:srgbClr val="002060"/>
                </a:solidFill>
                <a:hlinkClick r:id="rId5"/>
              </a:rPr>
              <a:t>https</a:t>
            </a:r>
            <a:r>
              <a:rPr lang="en-US" sz="1400" dirty="0">
                <a:solidFill>
                  <a:srgbClr val="002060"/>
                </a:solidFill>
                <a:hlinkClick r:id="rId5"/>
              </a:rPr>
              <a:t>://realistbank.ru/business/rko</a:t>
            </a:r>
            <a:r>
              <a:rPr lang="en-US" sz="1400" dirty="0" smtClean="0">
                <a:solidFill>
                  <a:srgbClr val="002060"/>
                </a:solidFill>
                <a:hlinkClick r:id="rId5"/>
              </a:rPr>
              <a:t>/</a:t>
            </a:r>
            <a:endParaRPr lang="ru-RU" dirty="0">
              <a:solidFill>
                <a:srgbClr val="00206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6248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4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04187" y="66522"/>
            <a:ext cx="8097173" cy="486415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 smtClean="0">
                <a:latin typeface="Formular" panose="02000000000000000000"/>
              </a:rPr>
              <a:t>Часто задаваемые вопросы и ответы на ни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5153853"/>
              </p:ext>
            </p:extLst>
          </p:nvPr>
        </p:nvGraphicFramePr>
        <p:xfrm>
          <a:off x="114300" y="452625"/>
          <a:ext cx="11920035" cy="6481722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sx="3000" sy="3000" algn="ctr" rotWithShape="0">
                    <a:srgbClr val="000000">
                      <a:alpha val="43137"/>
                    </a:srgbClr>
                  </a:outerShdw>
                </a:effectLst>
                <a:tableStyleId>{073A0DAA-6AF3-43AB-8588-CEC1D06C72B9}</a:tableStyleId>
              </a:tblPr>
              <a:tblGrid>
                <a:gridCol w="5399127">
                  <a:extLst>
                    <a:ext uri="{9D8B030D-6E8A-4147-A177-3AD203B41FA5}">
                      <a16:colId xmlns:a16="http://schemas.microsoft.com/office/drawing/2014/main" val="2508637711"/>
                    </a:ext>
                  </a:extLst>
                </a:gridCol>
                <a:gridCol w="6520908">
                  <a:extLst>
                    <a:ext uri="{9D8B030D-6E8A-4147-A177-3AD203B41FA5}">
                      <a16:colId xmlns:a16="http://schemas.microsoft.com/office/drawing/2014/main" val="2620063068"/>
                    </a:ext>
                  </a:extLst>
                </a:gridCol>
              </a:tblGrid>
              <a:tr h="279546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Вопросы клиентов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тветы 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028174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Банк находится под санкциями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Нет. Банк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тивно предоставляет услуги по ВЭД, </a:t>
                      </a:r>
                      <a:r>
                        <a:rPr lang="ru-RU" sz="1300" dirty="0" smtClean="0"/>
                        <a:t>в том числе Банк работает через </a:t>
                      </a:r>
                      <a:r>
                        <a:rPr lang="en-US" sz="1300" dirty="0" smtClean="0"/>
                        <a:t>SWIFT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439538"/>
                  </a:ext>
                </a:extLst>
              </a:tr>
              <a:tr h="27954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С какими</a:t>
                      </a:r>
                      <a:r>
                        <a:rPr lang="ru-RU" sz="1300" baseline="0" dirty="0" smtClean="0"/>
                        <a:t> валютами работает Банк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Банк работает с 13-ми разными валютами,</a:t>
                      </a:r>
                      <a:r>
                        <a:rPr lang="ru-RU" sz="1300" baseline="0" dirty="0" smtClean="0"/>
                        <a:t> включая доллары и евро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86922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marR="0" indent="-2857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baseline="0" dirty="0" smtClean="0"/>
                        <a:t>Есть ли возможность индивидуальных тарифов по валютному контролю и </a:t>
                      </a:r>
                      <a:r>
                        <a:rPr lang="ru-RU" sz="1300" baseline="0" dirty="0" err="1" smtClean="0"/>
                        <a:t>валютнообменным</a:t>
                      </a:r>
                      <a:r>
                        <a:rPr lang="ru-RU" sz="1300" baseline="0" dirty="0" smtClean="0"/>
                        <a:t> операциям</a:t>
                      </a:r>
                      <a:r>
                        <a:rPr lang="ru-RU" sz="1300" dirty="0" smtClean="0"/>
                        <a:t> 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Да, в зависимости</a:t>
                      </a:r>
                      <a:r>
                        <a:rPr lang="ru-RU" sz="1300" baseline="0" dirty="0" smtClean="0"/>
                        <a:t> от суммы сделки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161619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ая стоимость открытия счета в Банке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Открытие и рублевого и валютного счета в рамках Тарифного плана Старт ВЭД будет бесплатно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5436175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ая стоимость комиссии за переводы валютных платежей в Банке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В среднем 0,1-0,2 % в зависимости от валюты (смотри презентационный материал по продуктам и условия ТП Старт ВЭД)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793463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Работает ли Банк с «</a:t>
                      </a:r>
                      <a:r>
                        <a:rPr lang="ru-RU" sz="1300" dirty="0" err="1" smtClean="0"/>
                        <a:t>санкционными</a:t>
                      </a:r>
                      <a:r>
                        <a:rPr lang="ru-RU" sz="1300" dirty="0" smtClean="0"/>
                        <a:t>»</a:t>
                      </a:r>
                      <a:r>
                        <a:rPr lang="ru-RU" sz="1300" baseline="0" dirty="0" smtClean="0"/>
                        <a:t> компаниями 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dirty="0" smtClean="0"/>
                        <a:t>По рублевым платежам – индивидуальное согласование с ОФМ, по валютным платежам – не работаем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172923"/>
                  </a:ext>
                </a:extLst>
              </a:tr>
              <a:tr h="47081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Можно ли осуществлять расчеты</a:t>
                      </a:r>
                      <a:r>
                        <a:rPr lang="ru-RU" sz="1300" baseline="0" dirty="0" smtClean="0"/>
                        <a:t> без перевода валютного контракта в Банк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Да, это возможно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09447986"/>
                  </a:ext>
                </a:extLst>
              </a:tr>
              <a:tr h="27954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Можно ли отправить через Банк доллары и евро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Да, это возможно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89008601"/>
                  </a:ext>
                </a:extLst>
              </a:tr>
              <a:tr h="340002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В какие страны можно отправить доллары и евро через Банк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Армению, Грузию, Беларусь, Таджикистан, Кыргызстан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9855657"/>
                  </a:ext>
                </a:extLst>
              </a:tr>
              <a:tr h="27954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ая</a:t>
                      </a:r>
                      <a:r>
                        <a:rPr lang="ru-RU" sz="1300" baseline="0" dirty="0" smtClean="0"/>
                        <a:t> стоимость постановки контракта на учет в Банке? 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Бесплатно. Это одно из наших преимуществ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6396982"/>
                  </a:ext>
                </a:extLst>
              </a:tr>
              <a:tr h="27954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Проводит ли Банк платежи в Турцию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Да, турецкие лиры</a:t>
                      </a:r>
                      <a:r>
                        <a:rPr lang="ru-RU" sz="1300" baseline="0" dirty="0" smtClean="0"/>
                        <a:t> ограниченно</a:t>
                      </a:r>
                      <a:r>
                        <a:rPr lang="ru-RU" sz="1300" dirty="0" smtClean="0"/>
                        <a:t>, рубли и юани</a:t>
                      </a:r>
                      <a:endParaRPr lang="ru-RU" sz="1300" dirty="0">
                        <a:solidFill>
                          <a:schemeClr val="accent1">
                            <a:lumMod val="50000"/>
                          </a:schemeClr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57218389"/>
                  </a:ext>
                </a:extLst>
              </a:tr>
              <a:tr h="27954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Проводит ли Банк платежи в турецкий лирах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Входящие и исходящие платежи за продукты питания и сельхозпродукцию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4176642"/>
                  </a:ext>
                </a:extLst>
              </a:tr>
              <a:tr h="1427155">
                <a:tc>
                  <a:txBody>
                    <a:bodyPr/>
                    <a:lstStyle/>
                    <a:p>
                      <a:pPr marL="285750" marR="0" indent="-28575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сть ли у Банка ограничения по платежам в китайских юанях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анк не осуществляет платежи в китайских юанях в банки (включая их дочерние банки и филиалы), у которых штаб-квартира в США, странах ЕС, Великобритании, </a:t>
                      </a: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Швейцарии, Южной Корее, ОАЭ, Японии</a:t>
                      </a:r>
                    </a:p>
                    <a:p>
                      <a:pPr marL="285750" indent="-285750" algn="just">
                        <a:buFont typeface="Wingdings" panose="05000000000000000000" pitchFamily="2" charset="2"/>
                        <a:buChar char="§"/>
                      </a:pP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анк не осуществляет платежи в китайских юанях за </a:t>
                      </a:r>
                      <a:r>
                        <a:rPr lang="ru-RU" sz="1300" b="0" kern="120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анкционную</a:t>
                      </a: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продукцию вне материкового Китая</a:t>
                      </a:r>
                    </a:p>
                    <a:p>
                      <a:pPr marL="285750" marR="0" lvl="0" indent="-285750" algn="just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b="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Банк не осуществляет платежи в китайских юанях в банки РФ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813464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67927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5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2305051" y="2918419"/>
            <a:ext cx="6753224" cy="369332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Formular" panose="02000000000000000000" pitchFamily="2" charset="0"/>
                <a:ea typeface="+mj-ea"/>
                <a:cs typeface="+mj-cs"/>
              </a:defRPr>
            </a:lvl1pPr>
          </a:lstStyle>
          <a:p>
            <a:pPr marL="3239" algn="ctr" defTabSz="932962"/>
            <a:r>
              <a:rPr lang="ru-RU" altLang="ru-RU" sz="2800" b="1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КРЕДИТЫ</a:t>
            </a:r>
          </a:p>
        </p:txBody>
      </p:sp>
    </p:spTree>
    <p:extLst>
      <p:ext uri="{BB962C8B-B14F-4D97-AF65-F5344CB8AC3E}">
        <p14:creationId xmlns:p14="http://schemas.microsoft.com/office/powerpoint/2010/main" val="228564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6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588945" y="222067"/>
            <a:ext cx="8513038" cy="37779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</a:t>
            </a:r>
            <a:r>
              <a:rPr lang="ru-RU" sz="2400" dirty="0" err="1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Лайт</a:t>
            </a: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»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2270991" y="718882"/>
            <a:ext cx="7148945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о средств?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на любые цели на выгодных условиях – это просто!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503365" y="1642212"/>
            <a:ext cx="10265317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, приобретение оборудования, недвижимости, транспортных средств, рефинансирование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вающие и фиксированные ставки</a:t>
            </a:r>
          </a:p>
          <a:p>
            <a:pPr>
              <a:lnSpc>
                <a:spcPct val="2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мма кредита до 25 миллионов рублей 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ез залога до 20 % от суммы кредита 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редита –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20 месяце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отр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явки –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-7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бочи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ней!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срочка погашения основного долга – до </a:t>
            </a:r>
            <a:r>
              <a:rPr lang="en-US" sz="1600" dirty="0"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м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есяце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8" descr="C:\Users\FilippovRS\Desktop\white\2x_clock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6132" y="4868996"/>
            <a:ext cx="375625" cy="37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C:\Users\FilippovRS\Desktop\white\x_percentage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72324">
            <a:off x="847353" y="2382702"/>
            <a:ext cx="373183" cy="373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FilippovRS\Desktop\white\2x_cash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186" y="1776361"/>
            <a:ext cx="383517" cy="38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FilippovRS\Desktop\white\x_time-laps.png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2795" y="4263873"/>
            <a:ext cx="382299" cy="38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6149" y="3007284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C:\Users\FilippovRS\Desktop\white\2x_node-rotat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2634" y="5467447"/>
            <a:ext cx="362620" cy="36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674" y="3550209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3" name="Прямоугольник 32"/>
          <p:cNvSpPr/>
          <p:nvPr/>
        </p:nvSpPr>
        <p:spPr>
          <a:xfrm>
            <a:off x="1588945" y="5920306"/>
            <a:ext cx="4023809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Целевой сегмент: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фера производства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птовая торговля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79030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7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069235" y="208509"/>
            <a:ext cx="8513038" cy="37779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Экспресс»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752839" y="533303"/>
            <a:ext cx="11015843" cy="872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о средств?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на оборотные и инвестиционные цели на выгодных условиях – это просто!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2002129" y="1555426"/>
            <a:ext cx="9766553" cy="427809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средств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а также возможно приобрет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орудования, недвижимости, транспорт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ст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вающие и фиксированные ставки</a:t>
            </a:r>
          </a:p>
          <a:p>
            <a:pPr>
              <a:lnSpc>
                <a:spcPct val="2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мма кредита до 5 миллионов рублей </a:t>
            </a:r>
          </a:p>
          <a:p>
            <a:pPr>
              <a:lnSpc>
                <a:spcPct val="250000"/>
              </a:lnSpc>
            </a:pPr>
            <a:r>
              <a:rPr lang="ru-RU" sz="1600" b="1" dirty="0" smtClean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ез залога </a:t>
            </a:r>
            <a:endParaRPr lang="ru-RU" sz="16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рок кредита –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6 месяце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отр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явки –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бочи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ня!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отсрочка погашения основного долга – д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месяце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8" descr="C:\Users\FilippovRS\Desktop\white\2x_clock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896" y="4835059"/>
            <a:ext cx="375625" cy="37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C:\Users\FilippovRS\Desktop\white\x_percentage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72324">
            <a:off x="1346117" y="2348765"/>
            <a:ext cx="373183" cy="373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FilippovRS\Desktop\white\2x_cash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0950" y="1551035"/>
            <a:ext cx="383517" cy="38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FilippovRS\Desktop\white\x_time-laps.png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1559" y="4229936"/>
            <a:ext cx="382299" cy="38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34913" y="2973347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9" name="Picture 2" descr="C:\Users\FilippovRS\Desktop\white\2x_node-rotate.png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BEBA8EAE-BF5A-486C-A8C5-ECC9F3942E4B}">
                <a14:imgProps xmlns:a14="http://schemas.microsoft.com/office/drawing/2010/main">
                  <a14:imgLayer r:embed="rId1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51398" y="5433510"/>
            <a:ext cx="362620" cy="362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344438" y="3516272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2002129" y="5934670"/>
            <a:ext cx="2378793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Целевой сегмент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озничная торговля</a:t>
            </a:r>
          </a:p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фера услуг </a:t>
            </a:r>
            <a:endParaRPr lang="ru-RU" sz="16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130157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8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35259" y="322158"/>
            <a:ext cx="8513038" cy="37779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ование в форме Овердрафта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752839" y="590040"/>
            <a:ext cx="11015843" cy="87203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достаточно средств, кассовые разрывы?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редит на оборотные цели на выгодных условиях – это просто!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6888165" y="1840765"/>
            <a:ext cx="4481800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полнение оборотны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едств</a:t>
            </a:r>
          </a:p>
          <a:p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плавающие и фиксированные ставки</a:t>
            </a:r>
          </a:p>
          <a:p>
            <a:pPr>
              <a:lnSpc>
                <a:spcPct val="2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умма кредита до 22 миллионов рублей 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без залога 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срок кредита – д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2 месяцев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отр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явки –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3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бочи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ня!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8" descr="C:\Users\FilippovRS\Desktop\white\2x_clock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931" y="4897426"/>
            <a:ext cx="375625" cy="37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C:\Users\FilippovRS\Desktop\white\x_percentage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72324">
            <a:off x="6232152" y="2506824"/>
            <a:ext cx="373183" cy="373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FilippovRS\Desktop\white\2x_cash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6985" y="1911116"/>
            <a:ext cx="383517" cy="38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FilippovRS\Desktop\white\x_time-laps.png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7594" y="4281667"/>
            <a:ext cx="382299" cy="38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0948" y="3131406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0473" y="3684964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6747500" y="5727992"/>
            <a:ext cx="2393156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елевой сегмент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Оптовая </a:t>
            </a:r>
            <a:r>
              <a:rPr lang="ru-RU" dirty="0" smtClean="0">
                <a:latin typeface="Arial" panose="020B0604020202020204" pitchFamily="34" charset="0"/>
                <a:cs typeface="Arial" panose="020B0604020202020204" pitchFamily="34" charset="0"/>
              </a:rPr>
              <a:t>торговля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5994624" y="1867994"/>
            <a:ext cx="0" cy="4077226"/>
          </a:xfrm>
          <a:prstGeom prst="line">
            <a:avLst/>
          </a:prstGeom>
          <a:ln w="222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Прямоугольник 20"/>
          <p:cNvSpPr/>
          <p:nvPr/>
        </p:nvSpPr>
        <p:spPr>
          <a:xfrm>
            <a:off x="342517" y="1840765"/>
            <a:ext cx="5649261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333333"/>
                </a:solidFill>
                <a:latin typeface="YS Text"/>
              </a:rPr>
              <a:t>Об овердрафте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простыми словами.</a:t>
            </a:r>
          </a:p>
          <a:p>
            <a:endParaRPr lang="ru-RU" dirty="0">
              <a:solidFill>
                <a:srgbClr val="333333"/>
              </a:solidFill>
              <a:latin typeface="YS Text"/>
            </a:endParaRPr>
          </a:p>
          <a:p>
            <a:r>
              <a:rPr lang="ru-RU" b="1" dirty="0" smtClean="0">
                <a:solidFill>
                  <a:srgbClr val="333333"/>
                </a:solidFill>
                <a:latin typeface="YS Text"/>
              </a:rPr>
              <a:t>Это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возможность при необходимости уходить в минус на расчётном счете. </a:t>
            </a:r>
            <a:endParaRPr lang="ru-RU" dirty="0" smtClean="0">
              <a:solidFill>
                <a:srgbClr val="333333"/>
              </a:solidFill>
              <a:latin typeface="YS Text"/>
            </a:endParaRPr>
          </a:p>
          <a:p>
            <a:endParaRPr lang="ru-RU" dirty="0">
              <a:solidFill>
                <a:srgbClr val="333333"/>
              </a:solidFill>
              <a:latin typeface="YS Text"/>
            </a:endParaRPr>
          </a:p>
          <a:p>
            <a:r>
              <a:rPr lang="ru-RU" dirty="0">
                <a:solidFill>
                  <a:srgbClr val="333333"/>
                </a:solidFill>
                <a:latin typeface="YS Text"/>
              </a:rPr>
              <a:t>Инструмент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похож на </a:t>
            </a:r>
            <a:r>
              <a:rPr lang="ru-RU" b="1" dirty="0" smtClean="0">
                <a:solidFill>
                  <a:srgbClr val="333333"/>
                </a:solidFill>
                <a:latin typeface="YS Text"/>
              </a:rPr>
              <a:t>кредит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или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b="1" dirty="0" smtClean="0">
                <a:solidFill>
                  <a:srgbClr val="333333"/>
                </a:solidFill>
                <a:latin typeface="YS Text"/>
              </a:rPr>
              <a:t>кредитную</a:t>
            </a:r>
          </a:p>
          <a:p>
            <a:r>
              <a:rPr lang="ru-RU" dirty="0" smtClean="0">
                <a:solidFill>
                  <a:srgbClr val="333333"/>
                </a:solidFill>
                <a:latin typeface="YS Text"/>
              </a:rPr>
              <a:t>линию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, но имеет важную особенность: чтобы воспользоваться средствами в рамках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подключенного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b="1" dirty="0">
                <a:solidFill>
                  <a:srgbClr val="333333"/>
                </a:solidFill>
                <a:latin typeface="YS Text"/>
              </a:rPr>
              <a:t>овердрафта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, не нужно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каждый раз обращаться 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в банк и ждать перевода – деньги уже находятся в вашем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распоряжении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 </a:t>
            </a:r>
            <a:r>
              <a:rPr lang="ru-RU" dirty="0" smtClean="0">
                <a:solidFill>
                  <a:srgbClr val="333333"/>
                </a:solidFill>
                <a:latin typeface="YS Text"/>
              </a:rPr>
              <a:t>на расчетном счете.</a:t>
            </a:r>
          </a:p>
          <a:p>
            <a:endParaRPr lang="ru-RU" dirty="0">
              <a:solidFill>
                <a:srgbClr val="333333"/>
              </a:solidFill>
              <a:latin typeface="YS Text"/>
            </a:endParaRPr>
          </a:p>
          <a:p>
            <a:r>
              <a:rPr lang="ru-RU" dirty="0" smtClean="0">
                <a:solidFill>
                  <a:srgbClr val="333333"/>
                </a:solidFill>
                <a:latin typeface="YS Text"/>
              </a:rPr>
              <a:t>Как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</a:t>
            </a:r>
            <a:r>
              <a:rPr lang="ru-RU" b="1" dirty="0">
                <a:solidFill>
                  <a:srgbClr val="333333"/>
                </a:solidFill>
                <a:latin typeface="YS Text"/>
              </a:rPr>
              <a:t>кредитная</a:t>
            </a:r>
            <a:r>
              <a:rPr lang="ru-RU" dirty="0">
                <a:solidFill>
                  <a:srgbClr val="333333"/>
                </a:solidFill>
                <a:latin typeface="YS Text"/>
              </a:rPr>
              <a:t> карта, но для бизнеса! 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340885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19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918581" y="206569"/>
            <a:ext cx="4372251" cy="410369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ипотека»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19" name="Прямоугольник 18"/>
          <p:cNvSpPr/>
          <p:nvPr/>
        </p:nvSpPr>
        <p:spPr>
          <a:xfrm>
            <a:off x="361507" y="704930"/>
            <a:ext cx="5486400" cy="13388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</a:t>
            </a: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лиента есть объект недвижимости и официальная заработная плата? </a:t>
            </a:r>
          </a:p>
          <a:p>
            <a:pPr algn="ctr">
              <a:lnSpc>
                <a:spcPct val="150000"/>
              </a:lnSpc>
            </a:pP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изнес ипотека» – это просто!</a:t>
            </a:r>
          </a:p>
        </p:txBody>
      </p:sp>
      <p:sp>
        <p:nvSpPr>
          <p:cNvPr id="23" name="Прямоугольник 22"/>
          <p:cNvSpPr/>
          <p:nvPr/>
        </p:nvSpPr>
        <p:spPr>
          <a:xfrm>
            <a:off x="1371660" y="2331217"/>
            <a:ext cx="4342552" cy="390876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 потребительские цели, приобретение недвижимости, рефинансирование кредитов в других банках, на оплату по договору комплексного ипотечного страхования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 кредита до 60 миллионов рублей 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имеющейся в собственности недвижимости 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кредита – до 240 месяцев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отр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явки –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5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рабочих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ней!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4" name="Picture 8" descr="C:\Users\FilippovRS\Desktop\white\2x_clock-01.pn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49" y="5138989"/>
            <a:ext cx="375625" cy="375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7" descr="C:\Users\FilippovRS\Desktop\white\x_percentage.png"/>
          <p:cNvPicPr>
            <a:picLocks noChangeAspect="1" noChangeArrowheads="1"/>
          </p:cNvPicPr>
          <p:nvPr/>
        </p:nvPicPr>
        <p:blipFill>
          <a:blip r:embed="rId7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19872324">
            <a:off x="725171" y="3781503"/>
            <a:ext cx="373183" cy="3731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6" descr="C:\Users\FilippovRS\Desktop\white\2x_cash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05" y="2686593"/>
            <a:ext cx="383517" cy="3835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9" descr="C:\Users\FilippovRS\Desktop\white\x_time-laps.png"/>
          <p:cNvPicPr>
            <a:picLocks noChangeAspect="1" noChangeArrowheads="1"/>
          </p:cNvPicPr>
          <p:nvPr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-99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611" y="5713430"/>
            <a:ext cx="382299" cy="3822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1" descr="C:\Users\FilippovRS\Desktop\white\2x_check-file.pn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BEBA8EAE-BF5A-486C-A8C5-ECC9F3942E4B}">
                <a14:imgProps xmlns:a14="http://schemas.microsoft.com/office/drawing/2010/main">
                  <a14:imgLayer r:embed="rId14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005" y="4459522"/>
            <a:ext cx="395590" cy="3955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31" name="Прямая соединительная линия 30"/>
          <p:cNvCxnSpPr/>
          <p:nvPr/>
        </p:nvCxnSpPr>
        <p:spPr>
          <a:xfrm>
            <a:off x="5883792" y="657512"/>
            <a:ext cx="0" cy="5426788"/>
          </a:xfrm>
          <a:prstGeom prst="line">
            <a:avLst/>
          </a:prstGeom>
          <a:ln w="22225">
            <a:solidFill>
              <a:schemeClr val="accent6">
                <a:lumMod val="50000"/>
              </a:schemeClr>
            </a:solidFill>
            <a:prstDash val="dash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7" name="Прямоугольник 16"/>
          <p:cNvSpPr/>
          <p:nvPr/>
        </p:nvSpPr>
        <p:spPr>
          <a:xfrm>
            <a:off x="6257923" y="1221149"/>
            <a:ext cx="54864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b="1" dirty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лиент хочет купить объект недвижимости? </a:t>
            </a: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«Бизнес </a:t>
            </a:r>
            <a:r>
              <a:rPr lang="ru-RU" b="1" dirty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потека</a:t>
            </a:r>
            <a:r>
              <a:rPr lang="ru-RU" b="1" dirty="0" smtClean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+» </a:t>
            </a:r>
            <a:r>
              <a:rPr lang="ru-RU" b="1" dirty="0">
                <a:solidFill>
                  <a:srgbClr val="4C54A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это просто!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6486362" y="2667418"/>
            <a:ext cx="5327088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На приобретение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недвижимости на вторичном рынк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оговору купли-продаж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у юридического или физического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лица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или индивидуального предпринимателя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умма кредита до 20 миллионов рублей </a:t>
            </a:r>
          </a:p>
          <a:p>
            <a:endParaRPr lang="ru-RU" sz="1600" dirty="0" smtClean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ru-RU" sz="1600" b="1" dirty="0" smtClean="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лог приобретаемой недвижимости 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рок кредита – до 240 месяцев</a:t>
            </a:r>
          </a:p>
          <a:p>
            <a:pPr>
              <a:lnSpc>
                <a:spcPct val="250000"/>
              </a:lnSpc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рассмотрение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заявки –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1 рабочий день!</a:t>
            </a:r>
            <a:endParaRPr lang="ru-RU" sz="16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1008584" y="6329396"/>
            <a:ext cx="1049867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latin typeface="Arial" panose="020B0604020202020204" pitchFamily="34" charset="0"/>
                <a:cs typeface="Arial" panose="020B0604020202020204" pitchFamily="34" charset="0"/>
              </a:rPr>
              <a:t>Целевой </a:t>
            </a:r>
            <a:r>
              <a:rPr lang="ru-RU" b="1" dirty="0" smtClean="0">
                <a:latin typeface="Arial" panose="020B0604020202020204" pitchFamily="34" charset="0"/>
                <a:cs typeface="Arial" panose="020B0604020202020204" pitchFamily="34" charset="0"/>
              </a:rPr>
              <a:t>сегмент: физические, юридические лица индивидуальные предприниматели </a:t>
            </a:r>
            <a:endParaRPr lang="ru-RU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2"/>
          <p:cNvSpPr txBox="1">
            <a:spLocks noChangeArrowheads="1"/>
          </p:cNvSpPr>
          <p:nvPr/>
        </p:nvSpPr>
        <p:spPr bwMode="gray">
          <a:xfrm>
            <a:off x="6963781" y="206734"/>
            <a:ext cx="4372251" cy="41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kern="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ипотека +»</a:t>
            </a:r>
            <a:endParaRPr lang="ru-RU" sz="2400" kern="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672417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753319" y="766058"/>
            <a:ext cx="10341243" cy="476164"/>
          </a:xfrm>
          <a:prstGeom prst="rect">
            <a:avLst/>
          </a:prstGeom>
          <a:solidFill>
            <a:srgbClr val="19F2F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CB552812-A8D5-9F4C-E7C2-1561DAD12CA5}"/>
              </a:ext>
            </a:extLst>
          </p:cNvPr>
          <p:cNvSpPr/>
          <p:nvPr/>
        </p:nvSpPr>
        <p:spPr>
          <a:xfrm>
            <a:off x="0" y="138082"/>
            <a:ext cx="12191999" cy="421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spc="300" dirty="0">
                <a:solidFill>
                  <a:srgbClr val="1D4F91"/>
                </a:solidFill>
                <a:latin typeface="FORMULAR-LIGHT"/>
                <a:cs typeface="+mn-ea"/>
              </a:rPr>
              <a:t>Информация для </a:t>
            </a:r>
            <a:r>
              <a:rPr lang="ru-RU" sz="2800" spc="300" dirty="0" smtClean="0">
                <a:solidFill>
                  <a:srgbClr val="1D4F91"/>
                </a:solidFill>
                <a:latin typeface="FORMULAR-LIGHT"/>
                <a:cs typeface="+mn-ea"/>
              </a:rPr>
              <a:t>агентов</a:t>
            </a:r>
            <a:endParaRPr lang="ru-RU" sz="2800" spc="300" dirty="0">
              <a:solidFill>
                <a:srgbClr val="1D4F91"/>
              </a:solidFill>
              <a:latin typeface="FORMULAR-LIGHT"/>
              <a:cs typeface="+mn-ea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8040" y="4789391"/>
            <a:ext cx="1089857" cy="36328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B552812-A8D5-9F4C-E7C2-1561DAD12CA5}"/>
              </a:ext>
            </a:extLst>
          </p:cNvPr>
          <p:cNvSpPr/>
          <p:nvPr/>
        </p:nvSpPr>
        <p:spPr>
          <a:xfrm>
            <a:off x="761018" y="789004"/>
            <a:ext cx="10254914" cy="321721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8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Чтобы </a:t>
            </a:r>
            <a:r>
              <a:rPr lang="ru-RU" sz="28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стать </a:t>
            </a:r>
            <a:r>
              <a:rPr lang="ru-RU" sz="2800" dirty="0" smtClean="0">
                <a:solidFill>
                  <a:srgbClr val="FF0000"/>
                </a:solidFill>
                <a:ea typeface="+mj-ea"/>
                <a:cs typeface="Calibri Light" panose="020F0302020204030204" pitchFamily="34" charset="0"/>
              </a:rPr>
              <a:t>агентом</a:t>
            </a:r>
            <a:r>
              <a:rPr lang="ru-RU" sz="28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 </a:t>
            </a:r>
            <a:r>
              <a:rPr lang="ru-RU" sz="28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«Реалист Банка</a:t>
            </a:r>
            <a:r>
              <a:rPr lang="ru-RU" sz="28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»</a:t>
            </a:r>
            <a:endParaRPr lang="ru-RU" sz="28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/>
          </p:nvPr>
        </p:nvGraphicFramePr>
        <p:xfrm>
          <a:off x="1086695" y="2347793"/>
          <a:ext cx="10677517" cy="17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07425">
                  <a:extLst>
                    <a:ext uri="{9D8B030D-6E8A-4147-A177-3AD203B41FA5}">
                      <a16:colId xmlns:a16="http://schemas.microsoft.com/office/drawing/2014/main" val="1626527041"/>
                    </a:ext>
                  </a:extLst>
                </a:gridCol>
                <a:gridCol w="5470092">
                  <a:extLst>
                    <a:ext uri="{9D8B030D-6E8A-4147-A177-3AD203B41FA5}">
                      <a16:colId xmlns:a16="http://schemas.microsoft.com/office/drawing/2014/main" val="5810545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РКО 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3"/>
                        </a:rPr>
                        <a:t>https://realistbank.ru/business/rko/</a:t>
                      </a:r>
                      <a:endParaRPr lang="ru-RU" sz="1600" b="0" u="none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9490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по Кредитам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kern="1200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4"/>
                        </a:rPr>
                        <a:t>https://realistbank.ru/business/overdraft/</a:t>
                      </a:r>
                      <a:endParaRPr lang="en-US" sz="1600" b="0" u="none" kern="1200" dirty="0" smtClean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064375"/>
                  </a:ext>
                </a:extLst>
              </a:tr>
              <a:tr h="636164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по Кредитам под залог недвижимост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     («Бизнес Ипотека» и «Бизнес Ипотека +»)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5"/>
                        </a:rPr>
                        <a:t>https://realistbank.ru/individuals/mortgage-business/</a:t>
                      </a:r>
                      <a:endParaRPr lang="ru-RU" sz="1600" b="0" u="none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197748"/>
                  </a:ext>
                </a:extLst>
              </a:tr>
              <a:tr h="33245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ВЭД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kern="1200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6"/>
                        </a:rPr>
                        <a:t>https://realistbank.ru/business/operatsii-po-ved/</a:t>
                      </a:r>
                      <a:endParaRPr lang="ru-RU" sz="1600" b="0" u="none" kern="1200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5755019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980473" y="1744612"/>
            <a:ext cx="11118821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Перейти на официальном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сайте АО «Реалист Банк» по </a:t>
            </a:r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ссылкам ниже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:</a:t>
            </a:r>
            <a:endParaRPr lang="ru-RU" sz="24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21018" y="1734258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9197" y="1770256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1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80474" y="4697062"/>
            <a:ext cx="5814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Нажать кнопку «Стать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агентом»</a:t>
            </a:r>
            <a:endParaRPr lang="ru-RU" sz="24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80473" y="5845145"/>
            <a:ext cx="845630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Дождаться звонка из банка для оформления сотрудничества</a:t>
            </a: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571454" y="4301845"/>
            <a:ext cx="2196238" cy="2192763"/>
          </a:xfrm>
          <a:prstGeom prst="rect">
            <a:avLst/>
          </a:prstGeom>
        </p:spPr>
      </p:pic>
      <p:sp>
        <p:nvSpPr>
          <p:cNvPr id="18" name="Овал 17"/>
          <p:cNvSpPr/>
          <p:nvPr/>
        </p:nvSpPr>
        <p:spPr>
          <a:xfrm>
            <a:off x="221018" y="4704518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99197" y="4740516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2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221018" y="5814178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99197" y="5850176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3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794634" y="4694586"/>
            <a:ext cx="268765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dirty="0">
                <a:solidFill>
                  <a:srgbClr val="FF0000"/>
                </a:solidFill>
                <a:ea typeface="+mj-ea"/>
                <a:cs typeface="Calibri Light" panose="020F0302020204030204" pitchFamily="34" charset="0"/>
              </a:rPr>
              <a:t>и заполнить заявку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 rot="5400000">
            <a:off x="5244149" y="4732083"/>
            <a:ext cx="438638" cy="42956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980473" y="1215754"/>
            <a:ext cx="3036665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ru-RU" sz="28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Три простых шага</a:t>
            </a:r>
            <a:r>
              <a:rPr lang="en-US" sz="28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 </a:t>
            </a:r>
            <a:r>
              <a:rPr lang="ru-RU" sz="28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:</a:t>
            </a:r>
          </a:p>
        </p:txBody>
      </p:sp>
    </p:spTree>
    <p:extLst>
      <p:ext uri="{BB962C8B-B14F-4D97-AF65-F5344CB8AC3E}">
        <p14:creationId xmlns:p14="http://schemas.microsoft.com/office/powerpoint/2010/main" val="12841116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0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67433" y="317460"/>
            <a:ext cx="8097173" cy="488204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Часто задаваемые вопросы и ответы на ни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3513394"/>
              </p:ext>
            </p:extLst>
          </p:nvPr>
        </p:nvGraphicFramePr>
        <p:xfrm>
          <a:off x="204186" y="681839"/>
          <a:ext cx="11564495" cy="6080760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sx="3000" sy="3000" algn="ctr" rotWithShape="0">
                    <a:srgbClr val="000000">
                      <a:alpha val="43137"/>
                    </a:srgbClr>
                  </a:outerShdw>
                </a:effectLst>
                <a:tableStyleId>{073A0DAA-6AF3-43AB-8588-CEC1D06C72B9}</a:tableStyleId>
              </a:tblPr>
              <a:tblGrid>
                <a:gridCol w="3852909">
                  <a:extLst>
                    <a:ext uri="{9D8B030D-6E8A-4147-A177-3AD203B41FA5}">
                      <a16:colId xmlns:a16="http://schemas.microsoft.com/office/drawing/2014/main" val="2508637711"/>
                    </a:ext>
                  </a:extLst>
                </a:gridCol>
                <a:gridCol w="7711586">
                  <a:extLst>
                    <a:ext uri="{9D8B030D-6E8A-4147-A177-3AD203B41FA5}">
                      <a16:colId xmlns:a16="http://schemas.microsoft.com/office/drawing/2014/main" val="2620063068"/>
                    </a:ext>
                  </a:extLst>
                </a:gridCol>
              </a:tblGrid>
              <a:tr h="21657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Вопросы клиентов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тветы 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028174"/>
                  </a:ext>
                </a:extLst>
              </a:tr>
              <a:tr h="21657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 какие цели предоставляете кредиты?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анк предоставляет кредитные средства на все бизнес цели: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боротное кредитование (закуп товаров, услуг, выплата з/п, оплата кредиторской задолженности и т.д.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нвестиционное кредитование (приобретение коммерческой недвижимости, транспорта, оборудования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ефинансирование кредитов в других Банках (выданных на бизнес цели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вердрафтное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ование (покрытие кассовых разрывов, финансирование расчетного счета при недостаточности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денежнежных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средств)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редитование на исполнение контрактов (финансирование исполнения контрактов / договоров) 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endParaRPr lang="ru-RU" sz="1300" kern="1200" dirty="0" smtClean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акже Банк финансирует физических лиц в рамках продукта «Бизнес-ипотека», который предоставляется на потребительские цели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439538"/>
                  </a:ext>
                </a:extLst>
              </a:tr>
              <a:tr h="26498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На какие сроки предоставляются кредиты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Сроки кредитования зависят от цели кредитования и выбранного продукта (для бизнес целей сроки могут быть до 120 месяцев, а для потребительских целей сроки могут быть до 240 месяцев)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86922"/>
                  </a:ext>
                </a:extLst>
              </a:tr>
              <a:tr h="21657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ие сферы деятельности </a:t>
                      </a:r>
                      <a:r>
                        <a:rPr lang="ru-RU" sz="1300" b="1" dirty="0" smtClean="0"/>
                        <a:t>Банк                      не кредитует?</a:t>
                      </a:r>
                      <a:endParaRPr lang="ru-RU" sz="13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зготовление или торговля наркотическими средствами, оружием, сигаретами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горный бизнес, букмекерские услуги, ломбарды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учные разработки и исследования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орговля редкими видами животных;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ультура и искусство, в т. ч. шоу-бизнес, галереи, фильмы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алютные спекуляции, инвестиции в ценные бумаги и финансовая деятельность (лизинг, страховые компании, брокерские компании и т.д.)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Жилищное строительство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существление деятельности по договорам комиссии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о: добыча полезных ископаемых, нерудные материалы, производство вооружений и /или продукции военного назначения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птовая торговля (заготовка и переработка): лом чёрных и цветных металлов, нефтепродукты (кроме АЗС)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орговля: зерном (</a:t>
                      </a:r>
                      <a:r>
                        <a:rPr lang="ru-RU" sz="11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зернотрейдерство</a:t>
                      </a: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);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1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Лесозаготовительная деятельность</a:t>
                      </a:r>
                      <a:endParaRPr lang="ru-RU" sz="11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1616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49035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1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2466976" y="3013669"/>
            <a:ext cx="6753224" cy="369332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Formular" panose="02000000000000000000" pitchFamily="2" charset="0"/>
                <a:ea typeface="+mj-ea"/>
                <a:cs typeface="+mj-cs"/>
              </a:defRPr>
            </a:lvl1pPr>
          </a:lstStyle>
          <a:p>
            <a:pPr marL="3239" algn="ctr" defTabSz="932962"/>
            <a:r>
              <a:rPr lang="ru-RU" altLang="ru-RU" sz="2800" b="1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Подробно об условиях кредитования</a:t>
            </a:r>
          </a:p>
          <a:p>
            <a:pPr marL="3239" algn="ctr" defTabSz="932962"/>
            <a:endParaRPr lang="ru-RU" altLang="ru-RU" sz="2800" b="1" dirty="0" smtClean="0">
              <a:solidFill>
                <a:schemeClr val="accent6">
                  <a:lumMod val="25000"/>
                </a:schemeClr>
              </a:solidFill>
              <a:latin typeface="Formular" panose="02000000000000000000"/>
            </a:endParaRPr>
          </a:p>
        </p:txBody>
      </p:sp>
    </p:spTree>
    <p:extLst>
      <p:ext uri="{BB962C8B-B14F-4D97-AF65-F5344CB8AC3E}">
        <p14:creationId xmlns:p14="http://schemas.microsoft.com/office/powerpoint/2010/main" val="1547181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2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5681998"/>
              </p:ext>
            </p:extLst>
          </p:nvPr>
        </p:nvGraphicFramePr>
        <p:xfrm>
          <a:off x="364919" y="571081"/>
          <a:ext cx="11337554" cy="6217920"/>
        </p:xfrm>
        <a:graphic>
          <a:graphicData uri="http://schemas.openxmlformats.org/drawingml/2006/table">
            <a:tbl>
              <a:tblPr firstRow="1" firstCol="1" bandRow="1"/>
              <a:tblGrid>
                <a:gridCol w="2751679">
                  <a:extLst>
                    <a:ext uri="{9D8B030D-6E8A-4147-A177-3AD203B41FA5}">
                      <a16:colId xmlns:a16="http://schemas.microsoft.com/office/drawing/2014/main" val="2297971779"/>
                    </a:ext>
                  </a:extLst>
                </a:gridCol>
                <a:gridCol w="8585875">
                  <a:extLst>
                    <a:ext uri="{9D8B030D-6E8A-4147-A177-3AD203B41FA5}">
                      <a16:colId xmlns:a16="http://schemas.microsoft.com/office/drawing/2014/main" val="3618963530"/>
                    </a:ext>
                  </a:extLst>
                </a:gridCol>
              </a:tblGrid>
              <a:tr h="166854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лов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3955970"/>
                  </a:ext>
                </a:extLst>
              </a:tr>
              <a:tr h="125204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имит на сделку, руб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200 тыс. рублей до 5 млн рублей включительно, но не более лимита, рассчитанного по следующей формуле: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аксимальный лимит на сделку = (среднемесячный чистый кредитовый оборот по счету (счетам) Заемщика за последние 12 месяцев * 3) – (сумма среднемесячных платежей по действующим кредитным продуктам/договорам лизинга, включая расчетный среднемесячный платеж по выдаваемому кредиту * 3)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этом, общая сумма среднемесячных платежей по действующим кредитным продуктам/договорам лизинга, включая расчетный среднемесячный платеж по выдаваемому кредиту, не должна превышать 70% от среднемесячного чистого кредитового оборота по счету (счетам) Заемщика за последние 12 месяцев.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9784752"/>
                  </a:ext>
                </a:extLst>
              </a:tr>
              <a:tr h="3337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имит на заемщика (Группу связанных заемщиков)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5 млн рублей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ключительно </a:t>
                      </a:r>
                      <a:r>
                        <a:rPr lang="ru-RU" sz="1200" kern="12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с учетом всех действующих обязательств перед Банком (по кредитам/кредитным линиям, банковским гарантиям, договорам лизинга/факторинга).</a:t>
                      </a:r>
                    </a:p>
                  </a:txBody>
                  <a:tcPr marL="58935" marR="589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760631417"/>
                  </a:ext>
                </a:extLst>
              </a:tr>
              <a:tr h="66741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ормат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Кредит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Невозобновляемая кредитная линия (НКЛ), период выборки лимита кредитной линии – не более 2 месяцев с даты заключения договора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Овердрафт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14901740"/>
                  </a:ext>
                </a:extLst>
              </a:tr>
              <a:tr h="33370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Цель кредит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полнение оборотных средств,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вестиционные цели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878048186"/>
                  </a:ext>
                </a:extLst>
              </a:tr>
              <a:tr h="834271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ова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редит/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возобновляемая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кредитная линия: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 пополнение оборотных средств - не более 24 месяцев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 инвестиционные цели - не более 36 месяцев.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вердрафт: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договора - не более 24 месяцев, срок траншей – 90 дней.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14405935"/>
                  </a:ext>
                </a:extLst>
              </a:tr>
              <a:tr h="1668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алюта кредитов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UB (рубли РФ)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93688401"/>
                  </a:ext>
                </a:extLst>
              </a:tr>
              <a:tr h="1668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емщик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П / ЮЛ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76088964"/>
                  </a:ext>
                </a:extLst>
              </a:tr>
              <a:tr h="166854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ЯДОК ПОГАШ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83474032"/>
                  </a:ext>
                </a:extLst>
              </a:tr>
              <a:tr h="50056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сновного долг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ннуитетные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платежи;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дифференцированный платеж с возможностью отсрочки по уплате основного долга до 3 месяцев с даты выдачи кредита;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овердрафт – срок транша 90 дней.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73478531"/>
                  </a:ext>
                </a:extLst>
              </a:tr>
              <a:tr h="1668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центов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жемесячно</a:t>
                      </a: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9431100"/>
                  </a:ext>
                </a:extLst>
              </a:tr>
              <a:tr h="166854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80023920"/>
                  </a:ext>
                </a:extLst>
              </a:tr>
              <a:tr h="83469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8935" marR="58935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(обязательно) граждан РФ: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Times New Roman" panose="02020603050405020304" pitchFamily="18" charset="0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чредителей (участников) юридического лица, обладающих совокупной долей в уставном капитале не менее 51%;</a:t>
                      </a:r>
                    </a:p>
                    <a:p>
                      <a:pPr marL="21590" algn="just">
                        <a:spcAft>
                          <a:spcPts val="0"/>
                        </a:spcAft>
                        <a:tabLst>
                          <a:tab pos="111760" algn="l"/>
                        </a:tabLs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 Заемщикам – Индивидуальным предпринимателям (далее – ИП) - поручительство супруги/супруга. Если Заемщик не состоит в браке – в обязательном порядке необходимо заключение договора страхования жизни/здоровья в пользу Банка в страховой компании, удовлетворяющей требованиям Банка.</a:t>
                      </a:r>
                    </a:p>
                  </a:txBody>
                  <a:tcPr marL="58935" marR="58935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43846308"/>
                  </a:ext>
                </a:extLst>
              </a:tr>
            </a:tbl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2069235" y="208509"/>
            <a:ext cx="8513038" cy="3777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kern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Экспресс»</a:t>
            </a:r>
            <a:endParaRPr lang="ru-RU" sz="2400" kern="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5610429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3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69365287"/>
              </p:ext>
            </p:extLst>
          </p:nvPr>
        </p:nvGraphicFramePr>
        <p:xfrm>
          <a:off x="344993" y="672481"/>
          <a:ext cx="11098323" cy="5945107"/>
        </p:xfrm>
        <a:graphic>
          <a:graphicData uri="http://schemas.openxmlformats.org/drawingml/2006/table">
            <a:tbl>
              <a:tblPr firstRow="1" firstCol="1" bandRow="1"/>
              <a:tblGrid>
                <a:gridCol w="1802563">
                  <a:extLst>
                    <a:ext uri="{9D8B030D-6E8A-4147-A177-3AD203B41FA5}">
                      <a16:colId xmlns:a16="http://schemas.microsoft.com/office/drawing/2014/main" val="1109234410"/>
                    </a:ext>
                  </a:extLst>
                </a:gridCol>
                <a:gridCol w="9295760">
                  <a:extLst>
                    <a:ext uri="{9D8B030D-6E8A-4147-A177-3AD203B41FA5}">
                      <a16:colId xmlns:a16="http://schemas.microsoft.com/office/drawing/2014/main" val="208735611"/>
                    </a:ext>
                  </a:extLst>
                </a:gridCol>
              </a:tblGrid>
              <a:tr h="146725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ы</a:t>
                      </a:r>
                      <a:r>
                        <a:rPr lang="ru-RU" sz="1000" b="1" baseline="0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ловие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4661274"/>
                  </a:ext>
                </a:extLst>
              </a:tr>
              <a:tr h="42627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лимита, руб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400 тыс. рублей, но не более 0,5% от величины собственных средств (капитала) Банка и не более абсолютной величины, установленной Правлением Банка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Сейчас до 25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мл.руб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.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80129699"/>
                  </a:ext>
                </a:extLst>
              </a:tr>
              <a:tr h="4918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ормат предоставле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Кредит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</a:t>
                      </a:r>
                      <a:r>
                        <a:rPr lang="ru-RU" sz="10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возобновляемая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кредитная линия (НКЛ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Возобновляемая кредитная линия (ВКЛ)</a:t>
                      </a: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4303670"/>
                  </a:ext>
                </a:extLst>
              </a:tr>
              <a:tr h="4918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Цель кредита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полнение оборотных средств,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вестиционные цели,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ефинансирование кредитов, предоставленных другими кредитными организациями на пополнение оборотных средств и инвестиционные цели.</a:t>
                      </a: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6483867"/>
                  </a:ext>
                </a:extLst>
              </a:tr>
              <a:tr h="65580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ова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а на пополнение оборотных средств: не более 36 месяцев;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а на инвестиционные цели: не более 60 месяцев, кредит под залог недвижимого имущества – до 120 месяцев (при условии регистрации обременения до выдачи кредита).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траншей для ВКЛ - не более 365 дней.</a:t>
                      </a: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60324165"/>
                  </a:ext>
                </a:extLst>
              </a:tr>
              <a:tr h="1639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алюта кредитова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UB (рубли РФ)</a:t>
                      </a: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62021652"/>
                  </a:ext>
                </a:extLst>
              </a:tr>
              <a:tr h="1639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емщик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П / ЮЛ</a:t>
                      </a: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72812377"/>
                  </a:ext>
                </a:extLst>
              </a:tr>
              <a:tr h="163952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87142452"/>
                  </a:ext>
                </a:extLst>
              </a:tr>
              <a:tr h="49185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  <a:tabLst>
                          <a:tab pos="111760" algn="l"/>
                        </a:tabLst>
                      </a:pP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обязательно):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Учредителей (участников) юридического лица, обладающих совокупной долей в уставном капитале не менее 51%;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По Заемщикам – ИП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 - поручительство супруги/супруга. Если Заемщик не состоит в браке - поручительство третьего лица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88185224"/>
                  </a:ext>
                </a:extLst>
              </a:tr>
              <a:tr h="261678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Бланковая часть: до 10 млн руб. на Заемщика (включительно</a:t>
                      </a:r>
                      <a:r>
                        <a:rPr lang="ru-RU" sz="1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. </a:t>
                      </a:r>
                      <a:r>
                        <a:rPr lang="ru-RU" sz="1000" b="1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Сейчас 20% от лимита.</a:t>
                      </a:r>
                      <a:endParaRPr lang="ru-RU" sz="1000" b="1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выше 5 млн рублей – выдача осуществляется на залоговый (специальный) счет в АО «РЕАЛИСТ БАНК» с оформлением залога прав по договору банковского счета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мма кредитной сделки свыше бланковой части обеспечивается залогом: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орудование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Транспортные средства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амоходные машины и другие виды техники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жилая и жилая недвижимость, в том числе последующий залог, </a:t>
                      </a: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условии, что первоначальным Залогодержателем является Банк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емельные участки под коммерческую или жилую застройку</a:t>
                      </a:r>
                      <a:r>
                        <a:rPr lang="ru-RU" sz="1000" baseline="30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, в том числе последующий залог, </a:t>
                      </a: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условии, что первоначальным Залогодержателем является Банк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 прав по договору банковского счета в АО «РЕАЛИСТ БАНК»;</a:t>
                      </a:r>
                    </a:p>
                    <a:p>
                      <a:pPr marL="342900" lvl="0" indent="-342900" algn="just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 прав (требования) выручки по контракту/договору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ексель Банка в валюте кредитования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арантийный депозит</a:t>
                      </a:r>
                      <a:r>
                        <a:rPr lang="ru-RU" sz="1000" baseline="30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в валюте кредитования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Фондов содействия кредитованию малого бизнеса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АО «Федеральная корпорация по развитию малого и среднего предпринимательства» (Корпорация МСП);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ое обеспечение по решению Кредитного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омитета.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ахование залога не является обязательным 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требованием 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4867" marR="34867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1034419"/>
                  </a:ext>
                </a:extLst>
              </a:tr>
            </a:tbl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36727" y="263727"/>
            <a:ext cx="8513038" cy="37779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</a:t>
            </a:r>
            <a:r>
              <a:rPr lang="ru-RU" sz="2400" dirty="0" err="1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Лайт</a:t>
            </a: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»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4968927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4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98606238"/>
              </p:ext>
            </p:extLst>
          </p:nvPr>
        </p:nvGraphicFramePr>
        <p:xfrm>
          <a:off x="321009" y="913954"/>
          <a:ext cx="10953632" cy="5807991"/>
        </p:xfrm>
        <a:graphic>
          <a:graphicData uri="http://schemas.openxmlformats.org/drawingml/2006/table">
            <a:tbl>
              <a:tblPr firstRow="1" firstCol="1" bandRow="1"/>
              <a:tblGrid>
                <a:gridCol w="3034055">
                  <a:extLst>
                    <a:ext uri="{9D8B030D-6E8A-4147-A177-3AD203B41FA5}">
                      <a16:colId xmlns:a16="http://schemas.microsoft.com/office/drawing/2014/main" val="2656292204"/>
                    </a:ext>
                  </a:extLst>
                </a:gridCol>
                <a:gridCol w="7919577">
                  <a:extLst>
                    <a:ext uri="{9D8B030D-6E8A-4147-A177-3AD203B41FA5}">
                      <a16:colId xmlns:a16="http://schemas.microsoft.com/office/drawing/2014/main" val="2059873245"/>
                    </a:ext>
                  </a:extLst>
                </a:gridCol>
              </a:tblGrid>
              <a:tr h="15446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ы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ловие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19678263"/>
                  </a:ext>
                </a:extLst>
              </a:tr>
              <a:tr h="71055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лимита, руб.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70%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от среднемесячных Чистых кредитовых оборотов по расчетному счету Заемщика в Банке за последние 6 месяцев. На переходный период не более 50% от графика перевода оборотов. 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 более 0,5% от величины собственных средств (капитала) Банка и не более абсолютной величины, установленной Правлением Банка</a:t>
                      </a:r>
                      <a:r>
                        <a:rPr lang="ru-RU" sz="10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.</a:t>
                      </a:r>
                      <a:r>
                        <a:rPr lang="en-US" sz="10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Сейчас до 25 </a:t>
                      </a:r>
                      <a:r>
                        <a:rPr lang="ru-RU" sz="1000" kern="12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мл.руб</a:t>
                      </a:r>
                      <a:r>
                        <a:rPr lang="ru-RU" sz="1000" kern="12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.</a:t>
                      </a:r>
                      <a:endParaRPr lang="ru-RU" sz="1000" kern="12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1203777"/>
                  </a:ext>
                </a:extLst>
              </a:tr>
              <a:tr h="1544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ова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12 месяцев. Срок транша - 90 дней.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34921149"/>
                  </a:ext>
                </a:extLst>
              </a:tr>
              <a:tr h="1544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алюта кредитова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UB (рубли РФ)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57562279"/>
                  </a:ext>
                </a:extLst>
              </a:tr>
              <a:tr h="3089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Тип овердрафта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Овердрафт,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Овердрафт с переходным периодом (авансовый овердрафт).  Переходный период - 6 месяцев.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56215063"/>
                  </a:ext>
                </a:extLst>
              </a:tr>
              <a:tr h="1544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емщик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П / ЮЛ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13152469"/>
                  </a:ext>
                </a:extLst>
              </a:tr>
              <a:tr h="154468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ЯДОК ПОГАШЕН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70389314"/>
                  </a:ext>
                </a:extLst>
              </a:tr>
              <a:tr h="1544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сновного долга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</a:t>
                      </a: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едневное списание в сумме свободного остатка на расчетном счете на конец операционного дня. 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13214100"/>
                  </a:ext>
                </a:extLst>
              </a:tr>
              <a:tr h="154468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центов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жемесячно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15449384"/>
                  </a:ext>
                </a:extLst>
              </a:tr>
              <a:tr h="154468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66991342"/>
                  </a:ext>
                </a:extLst>
              </a:tr>
              <a:tr h="77233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  <a:tabLst>
                          <a:tab pos="11176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Личное поручительство физического лица обязательно.</a:t>
                      </a:r>
                    </a:p>
                    <a:p>
                      <a:pPr marL="21590">
                        <a:spcAft>
                          <a:spcPts val="0"/>
                        </a:spcAft>
                        <a:tabLst>
                          <a:tab pos="11176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: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Учредителей (участников) юридического лица, обладающих совокупной долей в уставном капитале не менее 51%;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По Заемщикам – ИП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 - поручительство супруги/супруга. Если Заемщик не состоит в браке - поручительство третьего лица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561282945"/>
                  </a:ext>
                </a:extLst>
              </a:tr>
              <a:tr h="231701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Бланковая часть: до 7 млн руб. включительно (Для авансового овердрафта </a:t>
                      </a:r>
                      <a:r>
                        <a:rPr lang="ru-RU" sz="10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– до 5 </a:t>
                      </a: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млн руб. включительно)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мма кредитной сделки свыше бланковой части обеспечивается залогом: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орудование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Транспортные средства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амоходные машины и другие виды техники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жилая и жилая недвижимость, в том числе последующий залог, </a:t>
                      </a: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условии, что первоначальным Залогодержателем является Банк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емельные участки под коммерческую или жилую застройку, в том числе последующий залог, </a:t>
                      </a:r>
                      <a:r>
                        <a:rPr lang="ru-RU" sz="1000" i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условии, что первоначальным Залогодержателем является Банк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ексель Банка в валюте кредитования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Гарантийный депозит</a:t>
                      </a:r>
                      <a:r>
                        <a:rPr lang="ru-RU" sz="1000" baseline="30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</a:t>
                      </a: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в валюте кредитования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Фондов содействия кредитованию малого бизнеса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 АО «Федеральная корпорация по развитию малого и среднего предпринимательства» (Корпорация МСП);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</a:pPr>
                      <a:r>
                        <a:rPr lang="ru-RU" sz="1000" dirty="0">
                          <a:solidFill>
                            <a:srgbClr val="00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ное обеспечение по решению КК МСБ</a:t>
                      </a:r>
                      <a:endParaRPr lang="ru-RU" sz="10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41796810"/>
                  </a:ext>
                </a:extLst>
              </a:tr>
              <a:tr h="154468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000" b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ПОЛНИТЕЛЬНЫЕ УСЛОВ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26800538"/>
                  </a:ext>
                </a:extLst>
              </a:tr>
              <a:tr h="308936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полнительные условия</a:t>
                      </a:r>
                      <a:endParaRPr lang="ru-RU" sz="10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ддержание Чистых кредитовых оборотов по расчетному счету Заемщика, установленных Банком, в соответствии с требованиями Паспорта продукта. </a:t>
                      </a:r>
                    </a:p>
                  </a:txBody>
                  <a:tcPr marL="54930" marR="5493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574528"/>
                  </a:ext>
                </a:extLst>
              </a:tr>
            </a:tbl>
          </a:graphicData>
        </a:graphic>
      </p:graphicFrame>
      <p:sp>
        <p:nvSpPr>
          <p:cNvPr id="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1735259" y="322158"/>
            <a:ext cx="8513038" cy="377796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0" marR="0" algn="ctr"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ование в форме Овердрафта</a:t>
            </a:r>
            <a:endParaRPr 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080341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5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2139084" y="192286"/>
            <a:ext cx="8658225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sz="2400" dirty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на исполнение контракта </a:t>
            </a:r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(для МСБ)</a:t>
            </a:r>
            <a:endParaRPr lang="ru-RU" alt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90276625"/>
              </p:ext>
            </p:extLst>
          </p:nvPr>
        </p:nvGraphicFramePr>
        <p:xfrm>
          <a:off x="648776" y="670611"/>
          <a:ext cx="10938363" cy="5489438"/>
        </p:xfrm>
        <a:graphic>
          <a:graphicData uri="http://schemas.openxmlformats.org/drawingml/2006/table">
            <a:tbl>
              <a:tblPr firstRow="1" firstCol="1" bandRow="1"/>
              <a:tblGrid>
                <a:gridCol w="3029826">
                  <a:extLst>
                    <a:ext uri="{9D8B030D-6E8A-4147-A177-3AD203B41FA5}">
                      <a16:colId xmlns:a16="http://schemas.microsoft.com/office/drawing/2014/main" val="37152787"/>
                    </a:ext>
                  </a:extLst>
                </a:gridCol>
                <a:gridCol w="7908537">
                  <a:extLst>
                    <a:ext uri="{9D8B030D-6E8A-4147-A177-3AD203B41FA5}">
                      <a16:colId xmlns:a16="http://schemas.microsoft.com/office/drawing/2014/main" val="4190005480"/>
                    </a:ext>
                  </a:extLst>
                </a:gridCol>
              </a:tblGrid>
              <a:tr h="26306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ы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 dirty="0" smtClean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лов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36609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467904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лимита, руб.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1 млн рублей, но не более 0,5% от величины собственных средств (капитала) Банка и не более абсолютной величины, установленной Правлением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Банка</a:t>
                      </a:r>
                      <a:r>
                        <a:rPr lang="en-US" sz="12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</a:t>
                      </a:r>
                      <a:endParaRPr lang="ru-RU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2150359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ормат предоставления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Кредит </a:t>
                      </a: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 Невозобновляемая кредитная линия (НКЛ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972079084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Цель кредит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Финансирование исполнения контракта/договора(-</a:t>
                      </a:r>
                      <a:r>
                        <a:rPr lang="ru-RU" sz="1200" dirty="0" err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в</a:t>
                      </a: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, заключенных/заключаемых в рамках № 44-ФЗ, № 223-ФЗ № 185-ФЗ (615-ПП)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41195905"/>
                  </a:ext>
                </a:extLst>
              </a:tr>
              <a:tr h="2630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ов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6 месяцев, но не более срока, на который заключен контракт, увеличенного на 60 календарных дней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620087028"/>
                  </a:ext>
                </a:extLst>
              </a:tr>
              <a:tr h="2630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алюта кредитова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RUB (рубли РФ)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28322239"/>
                  </a:ext>
                </a:extLst>
              </a:tr>
              <a:tr h="2630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емщик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П / ЮЛ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86821473"/>
                  </a:ext>
                </a:extLst>
              </a:tr>
              <a:tr h="243717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ЯДОК ПОГАШЕНИЯ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28525451"/>
                  </a:ext>
                </a:extLst>
              </a:tr>
              <a:tr h="445654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сновного долга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танавливается индивидуально с учетом ожидаемых поступлений по контракту (ежемесячно, ежеквартально, в конце срока, по индивидуальному графику, зачет выручки).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87635642"/>
                  </a:ext>
                </a:extLst>
              </a:tr>
              <a:tr h="26306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центов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жемесячно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01540226"/>
                  </a:ext>
                </a:extLst>
              </a:tr>
              <a:tr h="243717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200" b="1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5B3D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41666096"/>
                  </a:ext>
                </a:extLst>
              </a:tr>
              <a:tr h="78995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marL="21590">
                        <a:spcAft>
                          <a:spcPts val="0"/>
                        </a:spcAft>
                        <a:tabLst>
                          <a:tab pos="111760" algn="l"/>
                        </a:tabLs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учительство:</a:t>
                      </a:r>
                    </a:p>
                    <a:p>
                      <a:pPr marL="342900" lvl="0" indent="-342900">
                        <a:spcAft>
                          <a:spcPts val="0"/>
                        </a:spcAft>
                        <a:buFont typeface="Symbol" panose="05050102010706020507" pitchFamily="18" charset="2"/>
                        <a:buChar char="-"/>
                        <a:tabLst>
                          <a:tab pos="111760" algn="l"/>
                        </a:tabLst>
                      </a:pPr>
                      <a:r>
                        <a:rPr lang="ru-RU" sz="120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Учредителей (участников) юридического лица, обладающих совокупной долей в уставном капитале не менее 51%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58119522"/>
                  </a:ext>
                </a:extLst>
              </a:tr>
              <a:tr h="11141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200" b="1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</a:t>
                      </a:r>
                      <a:endParaRPr lang="ru-RU" sz="12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1F5F9"/>
                    </a:solidFill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- Залог прав (требования) выручки по контракту/договору на исполнении, заключенного в рамках 44-ФЗ, 223-ФЗ, 185-ФЗ (615-ПП)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- Залог прав по договору банковского (залогового) счета, открытого в АО "РЕАЛИСТ БАНК" по кредитам свыше 5 млн рублей.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200" dirty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- Иное обеспечение по решению 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ourier New" panose="02070309020205020404" pitchFamily="49" charset="0"/>
                        </a:rPr>
                        <a:t>Кредитного комитета банка</a:t>
                      </a:r>
                      <a:endParaRPr lang="ru-RU" sz="12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034698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55175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6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776178" y="267959"/>
            <a:ext cx="7153091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sz="240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Банковские гарантии</a:t>
            </a:r>
            <a:endParaRPr lang="ru-RU" altLang="ru-RU" sz="240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76178" y="789728"/>
            <a:ext cx="10447200" cy="5642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42528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7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2946092"/>
              </p:ext>
            </p:extLst>
          </p:nvPr>
        </p:nvGraphicFramePr>
        <p:xfrm>
          <a:off x="297786" y="514914"/>
          <a:ext cx="11603724" cy="6029987"/>
        </p:xfrm>
        <a:graphic>
          <a:graphicData uri="http://schemas.openxmlformats.org/drawingml/2006/table">
            <a:tbl>
              <a:tblPr firstRow="1" firstCol="1" bandRow="1"/>
              <a:tblGrid>
                <a:gridCol w="2761937">
                  <a:extLst>
                    <a:ext uri="{9D8B030D-6E8A-4147-A177-3AD203B41FA5}">
                      <a16:colId xmlns:a16="http://schemas.microsoft.com/office/drawing/2014/main" val="4202895103"/>
                    </a:ext>
                  </a:extLst>
                </a:gridCol>
                <a:gridCol w="8841787">
                  <a:extLst>
                    <a:ext uri="{9D8B030D-6E8A-4147-A177-3AD203B41FA5}">
                      <a16:colId xmlns:a16="http://schemas.microsoft.com/office/drawing/2014/main" val="3081377462"/>
                    </a:ext>
                  </a:extLst>
                </a:gridCol>
              </a:tblGrid>
              <a:tr h="222650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6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4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начение</a:t>
                      </a:r>
                      <a:endParaRPr lang="ru-RU" sz="14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936319"/>
                  </a:ext>
                </a:extLst>
              </a:tr>
              <a:tr h="221501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лиенты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озраст от 21 года, стаж не менее 3 месяцев на последнем месте работы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текущей просроченной задолженности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за последние два года непрерывной просроченной задолженности 120+ дней</a:t>
                      </a:r>
                      <a:endParaRPr lang="ru-RU" sz="110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121613"/>
                  </a:ext>
                </a:extLst>
              </a:tr>
              <a:tr h="28394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одатель 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озраст от 18 лет, залогодателем может быть 3-е лицо.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случае, если случае если передаваемая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 залог Банка недвижимость находится в долевой/совместной собственности нескольких лиц, необходимо, чтобы все собственники являлись Залогодателями передаваемой в залог недвижимости.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текущей просроченной задолженности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за последние два года непрерывной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просроченной задолженности 120+ дней</a:t>
                      </a:r>
                      <a:endParaRPr lang="ru-RU" sz="110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4035008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240 месяцев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3610309"/>
                  </a:ext>
                </a:extLst>
              </a:tr>
              <a:tr h="229586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16002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мма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редит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500 000 - До 60 000 000 рублей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021194"/>
                  </a:ext>
                </a:extLst>
              </a:tr>
              <a:tr h="175491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160020" algn="l"/>
                        </a:tabLs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центная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авк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20</a:t>
                      </a:r>
                      <a:r>
                        <a:rPr lang="ru-RU" sz="1100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% годовых</a:t>
                      </a:r>
                      <a:r>
                        <a:rPr lang="ru-RU" sz="1100" b="1" i="1" u="none" strike="noStrike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093204"/>
                  </a:ext>
                </a:extLst>
              </a:tr>
              <a:tr h="19667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кредит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 более 65% от рыночной стоимости закладываемой недвижимости. 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174052"/>
                  </a:ext>
                </a:extLst>
              </a:tr>
              <a:tr h="358409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Целевое использование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 потребительские цели, приобретение недвижимости, рефинансирование кредитов в других банках, на оплату по договору комплексного ипотечного страхования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474687"/>
                  </a:ext>
                </a:extLst>
              </a:tr>
              <a:tr h="189845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ядок погашения кредит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жемесячно, </a:t>
                      </a:r>
                      <a:r>
                        <a:rPr lang="ru-RU" sz="11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ннуитетными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платежами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7772261"/>
                  </a:ext>
                </a:extLst>
              </a:tr>
              <a:tr h="358409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 исполнения обязательств Заемщика перед Банком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алог имеющейся в собственности недвижимости (Ипотека в силу договора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</a:rPr>
                        <a:t>Поручительство ФЛ, ООО </a:t>
                      </a:r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179206"/>
                  </a:ext>
                </a:extLst>
              </a:tr>
              <a:tr h="243455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ахование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мущественное страхование, страхование титула (при необходимости), страхование жизни и здоровья (по решению МКК/УЛ)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334842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рассмотрения кредитной заявки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5 рабочих дней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533598"/>
                  </a:ext>
                </a:extLst>
              </a:tr>
              <a:tr h="189845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озможность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д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срочного погашения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 письменному заявлению клиента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8508118"/>
                  </a:ext>
                </a:extLst>
              </a:tr>
              <a:tr h="261866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едмет залога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едвижимость, находящаяся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в собственности физического лица, ИП или 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ОО</a:t>
                      </a:r>
                      <a:endParaRPr lang="ru-RU" sz="1100" b="1" baseline="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67069039"/>
                  </a:ext>
                </a:extLst>
              </a:tr>
              <a:tr h="261866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лое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мещение (квартира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 </a:t>
                      </a:r>
                    </a:p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дисконта,% 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35%</a:t>
                      </a:r>
                      <a:endParaRPr lang="ru-RU" sz="1100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31758406"/>
                  </a:ext>
                </a:extLst>
              </a:tr>
              <a:tr h="261866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Апартаменты</a:t>
                      </a:r>
                    </a:p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дисконта,%</a:t>
                      </a:r>
                      <a:endParaRPr lang="ru-RU" sz="1100" b="1" dirty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0%</a:t>
                      </a: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326834828"/>
                  </a:ext>
                </a:extLst>
              </a:tr>
              <a:tr h="395384">
                <a:tc>
                  <a:txBody>
                    <a:bodyPr/>
                    <a:lstStyle/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Жилой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м / часть жилого дома, с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емельным</a:t>
                      </a:r>
                      <a:r>
                        <a:rPr lang="ru-RU" sz="1100" b="1" baseline="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участком</a:t>
                      </a:r>
                      <a:endParaRPr lang="ru-RU" sz="1100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0" marR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Размер дисконта,%</a:t>
                      </a: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40% (площадь дома не более 300кв.м)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0% (площадь дома более 300 </a:t>
                      </a:r>
                      <a:r>
                        <a:rPr lang="ru-RU" sz="1100" dirty="0" err="1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в.м</a:t>
                      </a: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)</a:t>
                      </a: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2602316848"/>
                  </a:ext>
                </a:extLst>
              </a:tr>
              <a:tr h="593075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(Здание 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/ помещение коммерческого </a:t>
                      </a:r>
                      <a:r>
                        <a:rPr lang="ru-RU" sz="1100" b="1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значения)</a:t>
                      </a:r>
                      <a:r>
                        <a:rPr lang="ru-RU" sz="1100" b="1" dirty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endParaRPr lang="ru-RU" sz="1100" b="1" dirty="0" smtClean="0">
                        <a:solidFill>
                          <a:schemeClr val="tx1"/>
                        </a:solidFill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1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Times New Roman" panose="02020603050405020304" pitchFamily="18" charset="0"/>
                          <a:ea typeface="Times New Roman" panose="02020603050405020304" pitchFamily="18" charset="0"/>
                          <a:cs typeface="+mn-cs"/>
                        </a:rPr>
                        <a:t>Размер дисконта,%</a:t>
                      </a:r>
                      <a:endParaRPr kumimoji="0" lang="ru-RU" sz="11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Times New Roman" panose="02020603050405020304" pitchFamily="18" charset="0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solidFill>
                            <a:schemeClr val="tx1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50%-65% (принимается индивидуально на основании произведенного анализа залога УРЗ)</a:t>
                      </a:r>
                    </a:p>
                    <a:p>
                      <a:pPr algn="ctr"/>
                      <a:endParaRPr lang="ru-RU" sz="1100" dirty="0">
                        <a:solidFill>
                          <a:schemeClr val="tx1"/>
                        </a:solidFill>
                      </a:endParaRP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extLst>
                  <a:ext uri="{0D108BD9-81ED-4DB2-BD59-A6C34878D82A}">
                    <a16:rowId xmlns:a16="http://schemas.microsoft.com/office/drawing/2014/main" val="582553912"/>
                  </a:ext>
                </a:extLst>
              </a:tr>
            </a:tbl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3913521" y="104545"/>
            <a:ext cx="4372251" cy="41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kern="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ипотека»</a:t>
            </a:r>
            <a:endParaRPr lang="ru-RU" sz="2400" kern="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10826887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28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7894267"/>
              </p:ext>
            </p:extLst>
          </p:nvPr>
        </p:nvGraphicFramePr>
        <p:xfrm>
          <a:off x="263903" y="452625"/>
          <a:ext cx="11658466" cy="5854873"/>
        </p:xfrm>
        <a:graphic>
          <a:graphicData uri="http://schemas.openxmlformats.org/drawingml/2006/table">
            <a:tbl>
              <a:tblPr firstRow="1" firstCol="1" bandRow="1"/>
              <a:tblGrid>
                <a:gridCol w="3556558">
                  <a:extLst>
                    <a:ext uri="{9D8B030D-6E8A-4147-A177-3AD203B41FA5}">
                      <a16:colId xmlns:a16="http://schemas.microsoft.com/office/drawing/2014/main" val="4202895103"/>
                    </a:ext>
                  </a:extLst>
                </a:gridCol>
                <a:gridCol w="8101908">
                  <a:extLst>
                    <a:ext uri="{9D8B030D-6E8A-4147-A177-3AD203B41FA5}">
                      <a16:colId xmlns:a16="http://schemas.microsoft.com/office/drawing/2014/main" val="3081377462"/>
                    </a:ext>
                  </a:extLst>
                </a:gridCol>
              </a:tblGrid>
              <a:tr h="206798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араметр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69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="1" dirty="0">
                          <a:solidFill>
                            <a:srgbClr val="FFFFFF"/>
                          </a:solidFill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Значение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256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93936319"/>
                  </a:ext>
                </a:extLst>
              </a:tr>
              <a:tr h="228600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лиент</a:t>
                      </a: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Возраст от 21 года,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стаж не менее 3-х месяцев на последнем месте работы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текущей просроченной задолженности</a:t>
                      </a: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сутствие за последние два года непрерывной просроченной задолженности 120+ дней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38121613"/>
                  </a:ext>
                </a:extLst>
              </a:tr>
              <a:tr h="281354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кредита</a:t>
                      </a: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450215" algn="l"/>
                        </a:tabLst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240 месяцев</a:t>
                      </a: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8556092"/>
                  </a:ext>
                </a:extLst>
              </a:tr>
              <a:tr h="234565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16002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умма </a:t>
                      </a: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кредит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500 000 до 20 000 000 рублей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89021194"/>
                  </a:ext>
                </a:extLst>
              </a:tr>
              <a:tr h="246184">
                <a:tc>
                  <a:txBody>
                    <a:bodyPr/>
                    <a:lstStyle/>
                    <a:p>
                      <a:pPr marL="0" lvl="0" indent="0" algn="l">
                        <a:spcAft>
                          <a:spcPts val="0"/>
                        </a:spcAft>
                        <a:buFont typeface="+mj-lt"/>
                        <a:buNone/>
                        <a:tabLst>
                          <a:tab pos="160020" algn="l"/>
                        </a:tabLs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 </a:t>
                      </a: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оцентная </a:t>
                      </a: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авк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  <a:tabLst>
                          <a:tab pos="450215" algn="l"/>
                        </a:tabLs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т 20% годовых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9093204"/>
                  </a:ext>
                </a:extLst>
              </a:tr>
              <a:tr h="1406513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оотношение кредита и</a:t>
                      </a:r>
                    </a:p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оимости предмета залог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покупке квартиры</a:t>
                      </a:r>
                      <a:r>
                        <a:rPr lang="ru-RU" sz="110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/ аппартаментов</a:t>
                      </a: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: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не более 75% от рыночной стоимости приобретаемой недвижимости;</a:t>
                      </a:r>
                      <a:endParaRPr lang="ru-RU" sz="11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покупке коммерческой недвижимости: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не более 70% от рыночной стоимости приобретаемой недвижимости;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 покупке жилого дома с земельным участком: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-не более 55% от рыночной стоимости приобретаемой недвижимост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ервоначальный взнос покупатель(заемщик) вносит наличными, либо перечисляет безналичным путем на свой текущий счет, открытый в Банке (при безналичном перечислении счет открывается заранее)</a:t>
                      </a: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31174052"/>
                  </a:ext>
                </a:extLst>
              </a:tr>
              <a:tr h="365321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Целевое использование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На приобретение недвижимости на вторичном рынке по ДКП у юридического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или физического лица, или индивидуального предпринимателя.</a:t>
                      </a: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0474687"/>
                  </a:ext>
                </a:extLst>
              </a:tr>
              <a:tr h="191789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рядок погашения кредита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Ежемесячно, аннуитетными платежами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07772261"/>
                  </a:ext>
                </a:extLst>
              </a:tr>
              <a:tr h="538853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Обеспечение исполнения обязательств Заемщика перед Банком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потека приобретаемой недвижимости </a:t>
                      </a:r>
                      <a:r>
                        <a:rPr lang="ru-RU" sz="11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ипотека в силу закона);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супруга/супруги</a:t>
                      </a:r>
                    </a:p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ручительство иных физических лиц (по решению уполномоченного органа)</a:t>
                      </a:r>
                      <a:endParaRPr lang="ru-RU" sz="11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83179206"/>
                  </a:ext>
                </a:extLst>
              </a:tr>
              <a:tr h="253949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трахование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Имущественное страхование, страхование титула, страхование жизни и здоровья (по решению МКК/УЛ)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62334842"/>
                  </a:ext>
                </a:extLst>
              </a:tr>
              <a:tr h="365321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Срок рассмотрения кредитной заявки</a:t>
                      </a:r>
                    </a:p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endParaRPr lang="ru-RU" sz="1100" b="1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 5 рабочих дней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32533598"/>
                  </a:ext>
                </a:extLst>
              </a:tr>
              <a:tr h="333631">
                <a:tc>
                  <a:txBody>
                    <a:bodyPr/>
                    <a:lstStyle/>
                    <a:p>
                      <a:pPr marL="0" marR="0" lvl="0" indent="0" algn="l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60020" algn="l"/>
                        </a:tabLst>
                        <a:defRPr/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Досрочное погашение</a:t>
                      </a:r>
                    </a:p>
                  </a:txBody>
                  <a:tcPr marL="37104" marR="37104" marT="9620" marB="962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 письменному заявлению заемщика (по средствам Банк-клиента)</a:t>
                      </a:r>
                    </a:p>
                  </a:txBody>
                  <a:tcPr marL="37104" marR="37104" marT="9620" marB="962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28508118"/>
                  </a:ext>
                </a:extLst>
              </a:tr>
              <a:tr h="835269">
                <a:tc>
                  <a:txBody>
                    <a:bodyPr/>
                    <a:lstStyle/>
                    <a:p>
                      <a:pPr algn="l">
                        <a:spcAft>
                          <a:spcPts val="0"/>
                        </a:spcAft>
                      </a:pPr>
                      <a:r>
                        <a:rPr lang="ru-RU" sz="1100" b="1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рименяемая форма расчетов заемщика (покупателя) с продавцом </a:t>
                      </a:r>
                      <a:endParaRPr lang="ru-RU" sz="11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37104" marR="37104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Покрытый,</a:t>
                      </a: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 безотзывной аккредитив </a:t>
                      </a:r>
                    </a:p>
                    <a:p>
                      <a:pPr marL="0" marR="0" indent="0" algn="ctr" defTabSz="93296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aseline="0" dirty="0" smtClean="0">
                          <a:effectLst/>
                          <a:latin typeface="Times New Roman" panose="02020603050405020304" pitchFamily="18" charset="0"/>
                          <a:ea typeface="Times New Roman" panose="02020603050405020304" pitchFamily="18" charset="0"/>
                        </a:rPr>
                        <a:t>Условия раскрытия аккредитива указываются в ДКП и заявлении на открытие аккредитива</a:t>
                      </a: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9472" marR="49472" marT="24736" marB="24736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267069039"/>
                  </a:ext>
                </a:extLst>
              </a:tr>
            </a:tbl>
          </a:graphicData>
        </a:graphic>
      </p:graphicFrame>
      <p:sp>
        <p:nvSpPr>
          <p:cNvPr id="7" name="Rectangle 2"/>
          <p:cNvSpPr txBox="1">
            <a:spLocks noChangeArrowheads="1"/>
          </p:cNvSpPr>
          <p:nvPr/>
        </p:nvSpPr>
        <p:spPr bwMode="gray">
          <a:xfrm>
            <a:off x="3913521" y="104545"/>
            <a:ext cx="5371156" cy="4103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  <a:lvl2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2pPr>
            <a:lvl3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3pPr>
            <a:lvl4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4pPr>
            <a:lvl5pPr algn="l" defTabSz="913526" rtl="0" eaLnBrk="0" fontAlgn="base" hangingPunct="0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5pPr>
            <a:lvl6pPr marL="466481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6pPr>
            <a:lvl7pPr marL="932962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7pPr>
            <a:lvl8pPr marL="1399443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8pPr>
            <a:lvl9pPr marL="1865925" algn="l" defTabSz="913526" rtl="0" fontAlgn="base">
              <a:spcBef>
                <a:spcPct val="0"/>
              </a:spcBef>
              <a:spcAft>
                <a:spcPct val="0"/>
              </a:spcAft>
              <a:defRPr sz="1939" b="1">
                <a:solidFill>
                  <a:schemeClr val="tx2"/>
                </a:solidFill>
                <a:latin typeface="Arial" pitchFamily="34" charset="0"/>
              </a:defRPr>
            </a:lvl9pPr>
          </a:lstStyle>
          <a:p>
            <a:pPr>
              <a:lnSpc>
                <a:spcPts val="3171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2400" kern="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Кредит «Бизнес Ипотека</a:t>
            </a:r>
            <a:r>
              <a:rPr lang="en-US" sz="2400" kern="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 </a:t>
            </a:r>
            <a:r>
              <a:rPr lang="ru-RU" sz="2400" kern="0" dirty="0" smtClean="0">
                <a:solidFill>
                  <a:srgbClr val="102C51"/>
                </a:solidFill>
                <a:latin typeface="QOLAIL+Cascadia Mono Regular"/>
                <a:cs typeface="QOLAIL+Cascadia Mono Regular"/>
              </a:rPr>
              <a:t>плюс»</a:t>
            </a:r>
            <a:endParaRPr lang="ru-RU" sz="2400" kern="0" dirty="0">
              <a:solidFill>
                <a:srgbClr val="102C51"/>
              </a:solidFill>
              <a:latin typeface="QOLAIL+Cascadia Mono Regular"/>
              <a:cs typeface="QOLAIL+Cascadia Mono Regular"/>
            </a:endParaRPr>
          </a:p>
        </p:txBody>
      </p:sp>
    </p:spTree>
    <p:extLst>
      <p:ext uri="{BB962C8B-B14F-4D97-AF65-F5344CB8AC3E}">
        <p14:creationId xmlns:p14="http://schemas.microsoft.com/office/powerpoint/2010/main" val="25436418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980473" y="590340"/>
            <a:ext cx="10341243" cy="476164"/>
          </a:xfrm>
          <a:prstGeom prst="rect">
            <a:avLst/>
          </a:prstGeom>
          <a:solidFill>
            <a:srgbClr val="19F2FF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Прямоугольник 33">
            <a:extLst>
              <a:ext uri="{FF2B5EF4-FFF2-40B4-BE49-F238E27FC236}">
                <a16:creationId xmlns:a16="http://schemas.microsoft.com/office/drawing/2014/main" id="{CB552812-A8D5-9F4C-E7C2-1561DAD12CA5}"/>
              </a:ext>
            </a:extLst>
          </p:cNvPr>
          <p:cNvSpPr/>
          <p:nvPr/>
        </p:nvSpPr>
        <p:spPr>
          <a:xfrm>
            <a:off x="0" y="138082"/>
            <a:ext cx="12191999" cy="4217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001">
            <a:schemeClr val="l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800" spc="300" dirty="0">
                <a:solidFill>
                  <a:srgbClr val="1D4F91"/>
                </a:solidFill>
                <a:latin typeface="FORMULAR-LIGHT"/>
                <a:cs typeface="+mn-ea"/>
              </a:rPr>
              <a:t>Информация для </a:t>
            </a:r>
            <a:r>
              <a:rPr lang="ru-RU" sz="2800" spc="300" dirty="0" smtClean="0">
                <a:solidFill>
                  <a:srgbClr val="1D4F91"/>
                </a:solidFill>
                <a:latin typeface="FORMULAR-LIGHT"/>
                <a:cs typeface="+mn-ea"/>
              </a:rPr>
              <a:t>агентов</a:t>
            </a:r>
            <a:endParaRPr lang="ru-RU" sz="2800" spc="300" dirty="0">
              <a:solidFill>
                <a:srgbClr val="1D4F91"/>
              </a:solidFill>
              <a:latin typeface="FORMULAR-LIGHT"/>
              <a:cs typeface="+mn-ea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718039" y="4265402"/>
            <a:ext cx="1089857" cy="363285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:a16="http://schemas.microsoft.com/office/drawing/2014/main" id="{CB552812-A8D5-9F4C-E7C2-1561DAD12CA5}"/>
              </a:ext>
            </a:extLst>
          </p:cNvPr>
          <p:cNvSpPr/>
          <p:nvPr/>
        </p:nvSpPr>
        <p:spPr>
          <a:xfrm>
            <a:off x="980473" y="678233"/>
            <a:ext cx="10783740" cy="3186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algn="ctr">
              <a:spcBef>
                <a:spcPct val="0"/>
              </a:spcBef>
            </a:pPr>
            <a:r>
              <a:rPr lang="ru-RU" sz="28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Чтобы передать заявку </a:t>
            </a:r>
            <a:r>
              <a:rPr lang="ru-RU" sz="2800" dirty="0" smtClean="0">
                <a:solidFill>
                  <a:srgbClr val="FF0000"/>
                </a:solidFill>
                <a:ea typeface="+mj-ea"/>
                <a:cs typeface="Calibri Light" panose="020F0302020204030204" pitchFamily="34" charset="0"/>
              </a:rPr>
              <a:t>клиента</a:t>
            </a:r>
            <a:r>
              <a:rPr lang="ru-RU" sz="28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 в «Реалист Банк»</a:t>
            </a:r>
            <a:endParaRPr lang="ru-RU" sz="28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21988656"/>
              </p:ext>
            </p:extLst>
          </p:nvPr>
        </p:nvGraphicFramePr>
        <p:xfrm>
          <a:off x="1045296" y="1911053"/>
          <a:ext cx="10718917" cy="1747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227617">
                  <a:extLst>
                    <a:ext uri="{9D8B030D-6E8A-4147-A177-3AD203B41FA5}">
                      <a16:colId xmlns:a16="http://schemas.microsoft.com/office/drawing/2014/main" val="1626527041"/>
                    </a:ext>
                  </a:extLst>
                </a:gridCol>
                <a:gridCol w="5491300">
                  <a:extLst>
                    <a:ext uri="{9D8B030D-6E8A-4147-A177-3AD203B41FA5}">
                      <a16:colId xmlns:a16="http://schemas.microsoft.com/office/drawing/2014/main" val="58105451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РКО 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3"/>
                        </a:rPr>
                        <a:t>https://realistbank.ru/business/rko/</a:t>
                      </a:r>
                      <a:endParaRPr lang="ru-RU" sz="1600" b="0" u="none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7949077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по Кредитам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u="none" kern="1200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4"/>
                        </a:rPr>
                        <a:t>https://realistbank.ru/business/overdraft/</a:t>
                      </a:r>
                      <a:endParaRPr lang="en-US" sz="1600" b="0" u="none" kern="1200" dirty="0" smtClean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15064375"/>
                  </a:ext>
                </a:extLst>
              </a:tr>
              <a:tr h="636164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по Кредитам под залог недвижимости 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     («Бизнес Ипотека» и «Бизнес Ипотека +»)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5"/>
                        </a:rPr>
                        <a:t>https://realistbank.ru/individuals/mortgage-business/</a:t>
                      </a:r>
                      <a:endParaRPr lang="ru-RU" sz="1600" b="0" u="none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93197748"/>
                  </a:ext>
                </a:extLst>
              </a:tr>
              <a:tr h="332452"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800" b="0" kern="1200" dirty="0" smtClean="0">
                          <a:solidFill>
                            <a:srgbClr val="1D4F91"/>
                          </a:solidFill>
                          <a:latin typeface="+mn-lt"/>
                          <a:ea typeface="+mj-ea"/>
                          <a:cs typeface="Calibri Light" panose="020F0302020204030204" pitchFamily="34" charset="0"/>
                        </a:rPr>
                        <a:t>Агент ВЭД</a:t>
                      </a:r>
                      <a:endParaRPr lang="ru-RU" sz="1800" b="0" kern="1200" dirty="0">
                        <a:solidFill>
                          <a:srgbClr val="1D4F91"/>
                        </a:solidFill>
                        <a:latin typeface="+mn-lt"/>
                        <a:ea typeface="+mj-ea"/>
                        <a:cs typeface="Calibri Light" panose="020F03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600" b="0" u="none" kern="1200" dirty="0" smtClean="0">
                          <a:ln>
                            <a:noFill/>
                          </a:ln>
                          <a:solidFill>
                            <a:srgbClr val="1D4F91"/>
                          </a:solidFill>
                          <a:latin typeface="+mn-lt"/>
                          <a:ea typeface="Calibri Light" panose="020F0302020204030204" pitchFamily="34" charset="0"/>
                          <a:cs typeface="Calibri Light" panose="020F0302020204030204" pitchFamily="34" charset="0"/>
                          <a:hlinkClick r:id="rId6"/>
                        </a:rPr>
                        <a:t>https://realistbank.ru/business/operatsii-po-ved/</a:t>
                      </a:r>
                      <a:endParaRPr lang="ru-RU" sz="1600" b="0" u="none" kern="1200" dirty="0">
                        <a:ln>
                          <a:noFill/>
                        </a:ln>
                        <a:solidFill>
                          <a:srgbClr val="1D4F91"/>
                        </a:solidFill>
                        <a:latin typeface="+mn-lt"/>
                        <a:ea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1D4F9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5755019"/>
                  </a:ext>
                </a:extLst>
              </a:tr>
            </a:tbl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980473" y="1442688"/>
            <a:ext cx="11118821" cy="523220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>
              <a:spcBef>
                <a:spcPct val="0"/>
              </a:spcBef>
            </a:pPr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Перейти по ссылкам ниже на официальном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сайте:</a:t>
            </a:r>
            <a:endParaRPr lang="ru-RU" sz="24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6" name="Овал 5"/>
          <p:cNvSpPr/>
          <p:nvPr/>
        </p:nvSpPr>
        <p:spPr>
          <a:xfrm>
            <a:off x="217168" y="1468332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99197" y="1468332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1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980473" y="4173073"/>
            <a:ext cx="58141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Нажать кнопку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«Стать агентом»</a:t>
            </a:r>
            <a:endParaRPr lang="ru-RU" sz="24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980473" y="5746027"/>
            <a:ext cx="8456300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Клиенту – дождаться звонка </a:t>
            </a:r>
            <a:r>
              <a:rPr lang="ru-RU" sz="2400" dirty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из банка для </a:t>
            </a:r>
            <a:r>
              <a:rPr lang="ru-RU" sz="2400" dirty="0" smtClean="0">
                <a:solidFill>
                  <a:srgbClr val="1D4F91"/>
                </a:solidFill>
                <a:ea typeface="+mj-ea"/>
                <a:cs typeface="Calibri Light" panose="020F0302020204030204" pitchFamily="34" charset="0"/>
              </a:rPr>
              <a:t>подтверждения встречи и стать клиентом АО «Реалист Банк»</a:t>
            </a:r>
            <a:endParaRPr lang="ru-RU" sz="2400" dirty="0">
              <a:solidFill>
                <a:srgbClr val="1D4F91"/>
              </a:solidFill>
              <a:ea typeface="+mj-ea"/>
              <a:cs typeface="Calibri Light" panose="020F0302020204030204" pitchFamily="34" charset="0"/>
            </a:endParaRPr>
          </a:p>
        </p:txBody>
      </p:sp>
      <p:sp>
        <p:nvSpPr>
          <p:cNvPr id="18" name="Овал 17"/>
          <p:cNvSpPr/>
          <p:nvPr/>
        </p:nvSpPr>
        <p:spPr>
          <a:xfrm>
            <a:off x="221017" y="4180529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299196" y="4216527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2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26" name="Овал 25"/>
          <p:cNvSpPr/>
          <p:nvPr/>
        </p:nvSpPr>
        <p:spPr>
          <a:xfrm>
            <a:off x="221018" y="5715060"/>
            <a:ext cx="540000" cy="540000"/>
          </a:xfrm>
          <a:prstGeom prst="ellipse">
            <a:avLst/>
          </a:prstGeom>
          <a:solidFill>
            <a:srgbClr val="19F2FF"/>
          </a:solidFill>
          <a:ln w="381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atin typeface="+mj-lt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99197" y="5751058"/>
            <a:ext cx="37594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1D4F91"/>
                </a:solidFill>
                <a:latin typeface="+mj-lt"/>
              </a:rPr>
              <a:t>3</a:t>
            </a:r>
            <a:endParaRPr lang="ru-RU" sz="2400" b="1" dirty="0">
              <a:solidFill>
                <a:srgbClr val="1D4F91"/>
              </a:solidFill>
              <a:latin typeface="+mj-lt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80474" y="4731438"/>
            <a:ext cx="766301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dirty="0">
                <a:solidFill>
                  <a:srgbClr val="FF0000"/>
                </a:solidFill>
                <a:ea typeface="+mj-ea"/>
                <a:cs typeface="Calibri Light" panose="020F0302020204030204" pitchFamily="34" charset="0"/>
              </a:rPr>
              <a:t>В</a:t>
            </a:r>
            <a:r>
              <a:rPr lang="ru-RU" sz="2400" dirty="0" smtClean="0">
                <a:solidFill>
                  <a:srgbClr val="FF0000"/>
                </a:solidFill>
                <a:ea typeface="+mj-ea"/>
                <a:cs typeface="Calibri Light" panose="020F0302020204030204" pitchFamily="34" charset="0"/>
              </a:rPr>
              <a:t> поле «Передать клиента» заполнить данные клиента и нажать «Отправить заявку» </a:t>
            </a:r>
            <a:endParaRPr lang="ru-RU" sz="2400" dirty="0">
              <a:solidFill>
                <a:srgbClr val="FF0000"/>
              </a:solidFill>
              <a:ea typeface="+mj-ea"/>
              <a:cs typeface="Calibri Light" panose="020F0302020204030204" pitchFamily="34" charset="0"/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400000">
            <a:off x="5244148" y="4208094"/>
            <a:ext cx="438638" cy="429563"/>
          </a:xfrm>
          <a:prstGeom prst="rect">
            <a:avLst/>
          </a:prstGeom>
        </p:spPr>
      </p:pic>
      <p:pic>
        <p:nvPicPr>
          <p:cNvPr id="1026" name="Рисунок 2" descr="image00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69"/>
          <a:stretch/>
        </p:blipFill>
        <p:spPr bwMode="auto">
          <a:xfrm>
            <a:off x="9230265" y="3735238"/>
            <a:ext cx="2789632" cy="3122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980473" y="1043776"/>
            <a:ext cx="2556405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ct val="0"/>
              </a:spcBef>
            </a:pPr>
            <a:r>
              <a:rPr lang="ru-RU" sz="2400" dirty="0">
                <a:solidFill>
                  <a:srgbClr val="1D4F91"/>
                </a:solidFill>
                <a:cs typeface="Calibri Light" panose="020F0302020204030204" pitchFamily="34" charset="0"/>
              </a:rPr>
              <a:t>Три простых </a:t>
            </a:r>
            <a:r>
              <a:rPr lang="ru-RU" sz="2400" dirty="0" smtClean="0">
                <a:solidFill>
                  <a:srgbClr val="1D4F91"/>
                </a:solidFill>
                <a:cs typeface="Calibri Light" panose="020F0302020204030204" pitchFamily="34" charset="0"/>
              </a:rPr>
              <a:t>шага:</a:t>
            </a:r>
            <a:endParaRPr lang="ru-RU" sz="2400" dirty="0">
              <a:solidFill>
                <a:srgbClr val="1D4F91"/>
              </a:solidFill>
              <a:cs typeface="Calibri Light" panose="020F0302020204030204" pitchFamily="34" charset="0"/>
            </a:endParaRPr>
          </a:p>
        </p:txBody>
      </p:sp>
      <p:cxnSp>
        <p:nvCxnSpPr>
          <p:cNvPr id="11" name="Прямая со стрелкой 10"/>
          <p:cNvCxnSpPr/>
          <p:nvPr/>
        </p:nvCxnSpPr>
        <p:spPr>
          <a:xfrm>
            <a:off x="8596922" y="5296510"/>
            <a:ext cx="882901" cy="246711"/>
          </a:xfrm>
          <a:prstGeom prst="straightConnector1">
            <a:avLst/>
          </a:prstGeom>
          <a:ln w="31750"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3534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 advTm="0"/>
    </mc:Choice>
    <mc:Fallback xmlns="">
      <p:transition advClick="0" advTm="0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4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2236179" y="1004099"/>
            <a:ext cx="8724899" cy="369332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Formular" panose="02000000000000000000" pitchFamily="2" charset="0"/>
                <a:ea typeface="+mj-ea"/>
                <a:cs typeface="+mj-cs"/>
              </a:defRPr>
            </a:lvl1pPr>
          </a:lstStyle>
          <a:p>
            <a:pPr marL="3239" defTabSz="932962"/>
            <a:r>
              <a:rPr lang="ru-RU" altLang="ru-RU" sz="2800" b="1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ТАРИФНЫЕ ПЛАНЫ И ПАКЕТЫ УСЛУГ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236179" y="1858436"/>
            <a:ext cx="828485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Подробно об условиях Тарифных планов и пакетов </a:t>
            </a:r>
            <a:r>
              <a:rPr lang="ru-RU" dirty="0">
                <a:solidFill>
                  <a:srgbClr val="002060"/>
                </a:solidFill>
              </a:rPr>
              <a:t>услуг </a:t>
            </a:r>
            <a:r>
              <a:rPr lang="ru-RU" dirty="0" smtClean="0">
                <a:solidFill>
                  <a:srgbClr val="002060"/>
                </a:solidFill>
              </a:rPr>
              <a:t>на </a:t>
            </a:r>
            <a:r>
              <a:rPr lang="ru-RU" dirty="0">
                <a:solidFill>
                  <a:srgbClr val="002060"/>
                </a:solidFill>
              </a:rPr>
              <a:t>сайте банка </a:t>
            </a:r>
            <a:r>
              <a:rPr lang="ru-RU" dirty="0" smtClean="0">
                <a:solidFill>
                  <a:srgbClr val="002060"/>
                </a:solidFill>
              </a:rPr>
              <a:t>в разделе:</a:t>
            </a:r>
          </a:p>
          <a:p>
            <a:r>
              <a:rPr lang="ru-RU" dirty="0" smtClean="0">
                <a:solidFill>
                  <a:srgbClr val="002060"/>
                </a:solidFill>
              </a:rPr>
              <a:t>Среднему и малому бизнесу / РКО / </a:t>
            </a:r>
            <a:r>
              <a:rPr lang="ru-RU" dirty="0">
                <a:solidFill>
                  <a:srgbClr val="002060"/>
                </a:solidFill>
              </a:rPr>
              <a:t>Тарифы </a:t>
            </a:r>
            <a:r>
              <a:rPr lang="ru-RU" dirty="0" smtClean="0">
                <a:solidFill>
                  <a:srgbClr val="002060"/>
                </a:solidFill>
              </a:rPr>
              <a:t>РКО по ссылке: </a:t>
            </a:r>
          </a:p>
          <a:p>
            <a:r>
              <a:rPr lang="en-US" dirty="0" smtClean="0">
                <a:solidFill>
                  <a:srgbClr val="C00000"/>
                </a:solidFill>
                <a:hlinkClick r:id="rId5"/>
              </a:rPr>
              <a:t>https</a:t>
            </a:r>
            <a:r>
              <a:rPr lang="en-US" dirty="0">
                <a:solidFill>
                  <a:srgbClr val="C00000"/>
                </a:solidFill>
                <a:hlinkClick r:id="rId5"/>
              </a:rPr>
              <a:t>://realistbank.ru/business/rko/</a:t>
            </a:r>
            <a:endParaRPr lang="ru-RU" dirty="0">
              <a:solidFill>
                <a:srgbClr val="C0000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236179" y="3093958"/>
            <a:ext cx="6168500" cy="33535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2875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xfrm>
            <a:off x="10049522" y="6356350"/>
            <a:ext cx="1304278" cy="365125"/>
          </a:xfrm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r>
              <a:rPr lang="ru-RU" altLang="ru-RU" dirty="0">
                <a:latin typeface="Arial" panose="020B0604020202020204" pitchFamily="34" charset="0"/>
              </a:rPr>
              <a:t> </a:t>
            </a: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145012"/>
              </p:ext>
            </p:extLst>
          </p:nvPr>
        </p:nvGraphicFramePr>
        <p:xfrm>
          <a:off x="517236" y="1302084"/>
          <a:ext cx="11185237" cy="453409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558473">
                  <a:extLst>
                    <a:ext uri="{9D8B030D-6E8A-4147-A177-3AD203B41FA5}">
                      <a16:colId xmlns:a16="http://schemas.microsoft.com/office/drawing/2014/main" val="3058415963"/>
                    </a:ext>
                  </a:extLst>
                </a:gridCol>
                <a:gridCol w="879764">
                  <a:extLst>
                    <a:ext uri="{9D8B030D-6E8A-4147-A177-3AD203B41FA5}">
                      <a16:colId xmlns:a16="http://schemas.microsoft.com/office/drawing/2014/main" val="2805903035"/>
                    </a:ext>
                  </a:extLst>
                </a:gridCol>
                <a:gridCol w="879764">
                  <a:extLst>
                    <a:ext uri="{9D8B030D-6E8A-4147-A177-3AD203B41FA5}">
                      <a16:colId xmlns:a16="http://schemas.microsoft.com/office/drawing/2014/main" val="433844776"/>
                    </a:ext>
                  </a:extLst>
                </a:gridCol>
                <a:gridCol w="879764">
                  <a:extLst>
                    <a:ext uri="{9D8B030D-6E8A-4147-A177-3AD203B41FA5}">
                      <a16:colId xmlns:a16="http://schemas.microsoft.com/office/drawing/2014/main" val="3296904637"/>
                    </a:ext>
                  </a:extLst>
                </a:gridCol>
                <a:gridCol w="879764">
                  <a:extLst>
                    <a:ext uri="{9D8B030D-6E8A-4147-A177-3AD203B41FA5}">
                      <a16:colId xmlns:a16="http://schemas.microsoft.com/office/drawing/2014/main" val="2908077407"/>
                    </a:ext>
                  </a:extLst>
                </a:gridCol>
                <a:gridCol w="858982">
                  <a:extLst>
                    <a:ext uri="{9D8B030D-6E8A-4147-A177-3AD203B41FA5}">
                      <a16:colId xmlns:a16="http://schemas.microsoft.com/office/drawing/2014/main" val="672646784"/>
                    </a:ext>
                  </a:extLst>
                </a:gridCol>
                <a:gridCol w="858982">
                  <a:extLst>
                    <a:ext uri="{9D8B030D-6E8A-4147-A177-3AD203B41FA5}">
                      <a16:colId xmlns:a16="http://schemas.microsoft.com/office/drawing/2014/main" val="3658159734"/>
                    </a:ext>
                  </a:extLst>
                </a:gridCol>
                <a:gridCol w="858982">
                  <a:extLst>
                    <a:ext uri="{9D8B030D-6E8A-4147-A177-3AD203B41FA5}">
                      <a16:colId xmlns:a16="http://schemas.microsoft.com/office/drawing/2014/main" val="1373298804"/>
                    </a:ext>
                  </a:extLst>
                </a:gridCol>
                <a:gridCol w="858982">
                  <a:extLst>
                    <a:ext uri="{9D8B030D-6E8A-4147-A177-3AD203B41FA5}">
                      <a16:colId xmlns:a16="http://schemas.microsoft.com/office/drawing/2014/main" val="1453575592"/>
                    </a:ext>
                  </a:extLst>
                </a:gridCol>
                <a:gridCol w="1671780">
                  <a:extLst>
                    <a:ext uri="{9D8B030D-6E8A-4147-A177-3AD203B41FA5}">
                      <a16:colId xmlns:a16="http://schemas.microsoft.com/office/drawing/2014/main" val="276413326"/>
                    </a:ext>
                  </a:extLst>
                </a:gridCol>
              </a:tblGrid>
              <a:tr h="534529"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араметры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Базовый</a:t>
                      </a:r>
                    </a:p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Москва/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иб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кий/Смоленск/Кострома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Старт</a:t>
                      </a:r>
                    </a:p>
                    <a:p>
                      <a:pPr algn="ctr" fontAlgn="b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Москва/</a:t>
                      </a:r>
                      <a:r>
                        <a:rPr lang="ru-RU" sz="1600" b="1" i="0" u="none" strike="noStrike" dirty="0" err="1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Сиб</a:t>
                      </a:r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-кий/Смоленск/Кострома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600" b="1" u="none" strike="noStrike" dirty="0">
                          <a:solidFill>
                            <a:schemeClr val="bg1"/>
                          </a:solidFill>
                          <a:effectLst/>
                        </a:rPr>
                        <a:t>Старт ВЭД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3382814"/>
                  </a:ext>
                </a:extLst>
              </a:tr>
              <a:tr h="212561">
                <a:tc gridSpan="10">
                  <a:txBody>
                    <a:bodyPr/>
                    <a:lstStyle/>
                    <a:p>
                      <a:pPr marL="0" indent="0" algn="ctr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Затраты при открытии и подключение </a:t>
                      </a: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чета к ДБО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247551577"/>
                  </a:ext>
                </a:extLst>
              </a:tr>
              <a:tr h="212561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Открытие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ервого счё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00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 руб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70344840"/>
                  </a:ext>
                </a:extLst>
              </a:tr>
              <a:tr h="619515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Изготовление и/или заверение копий учредительных документов (устав,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уч. дог. </a:t>
                      </a: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и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р.)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 </a:t>
                      </a:r>
                      <a:r>
                        <a:rPr lang="ru-RU" sz="1400" u="none" strike="noStrike" dirty="0" smtClean="0">
                          <a:effectLst/>
                        </a:rPr>
                        <a:t>1200 руб</a:t>
                      </a:r>
                      <a:r>
                        <a:rPr lang="ru-RU" sz="1400" u="none" strike="noStrike" dirty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до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120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ru-RU" sz="1400" b="0" i="0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руб.</a:t>
                      </a:r>
                    </a:p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373636633"/>
                  </a:ext>
                </a:extLst>
              </a:tr>
              <a:tr h="386970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Заверение КО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600 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руб.</a:t>
                      </a:r>
                    </a:p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за подпись)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руб.</a:t>
                      </a:r>
                    </a:p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за подпись)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600 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руб.</a:t>
                      </a:r>
                    </a:p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за подпись)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6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120 руб.</a:t>
                      </a:r>
                    </a:p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(за подпись)</a:t>
                      </a:r>
                      <a:endParaRPr lang="ru-RU" sz="1200" b="0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169823913"/>
                  </a:ext>
                </a:extLst>
              </a:tr>
              <a:tr h="619515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Подключение к ДБО с одной ЭП</a:t>
                      </a:r>
                    </a:p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без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токена</a:t>
                      </a:r>
                      <a:endParaRPr lang="ru-RU" sz="1400" b="0" i="0" u="none" strike="noStrike" baseline="0" dirty="0" smtClean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  <a:p>
                      <a:pPr marL="285750" indent="-285750" algn="l" fontAlgn="b">
                        <a:buFont typeface="Arial" panose="020B0604020202020204" pitchFamily="34" charset="0"/>
                        <a:buChar char="•"/>
                      </a:pP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с </a:t>
                      </a:r>
                      <a:r>
                        <a:rPr lang="ru-RU" sz="1400" b="0" i="0" u="none" strike="noStrike" baseline="0" dirty="0" err="1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токеном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***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300</a:t>
                      </a:r>
                      <a:r>
                        <a:rPr lang="ru-RU" sz="1400" u="none" strike="noStrike" baseline="0" dirty="0" smtClean="0">
                          <a:solidFill>
                            <a:schemeClr val="tx1"/>
                          </a:solidFill>
                          <a:effectLst/>
                        </a:rPr>
                        <a:t> руб.</a:t>
                      </a:r>
                      <a:endParaRPr lang="ru-RU" sz="1400" u="none" strike="noStrike" dirty="0" smtClean="0">
                        <a:solidFill>
                          <a:schemeClr val="tx1"/>
                        </a:solidFill>
                        <a:effectLst/>
                      </a:endParaRPr>
                    </a:p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3000 руб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600 руб.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700 руб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500 руб.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1700 руб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0 </a:t>
                      </a:r>
                      <a:r>
                        <a:rPr lang="ru-RU" sz="1400" u="none" strike="noStrike" dirty="0">
                          <a:solidFill>
                            <a:schemeClr val="tx1"/>
                          </a:solidFill>
                          <a:effectLst/>
                        </a:rPr>
                        <a:t>руб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.</a:t>
                      </a:r>
                    </a:p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3000 руб.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22928537"/>
                  </a:ext>
                </a:extLst>
              </a:tr>
              <a:tr h="313818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Открытие второго и след. счетов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8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500 руб</a:t>
                      </a:r>
                      <a:r>
                        <a:rPr lang="ru-RU" sz="1400" u="none" strike="noStrike" dirty="0" smtClean="0">
                          <a:effectLst/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63403768"/>
                  </a:ext>
                </a:extLst>
              </a:tr>
              <a:tr h="252136">
                <a:tc gridSpan="10">
                  <a:txBody>
                    <a:bodyPr/>
                    <a:lstStyle/>
                    <a:p>
                      <a:pPr marL="0" indent="0" algn="ctr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Затраты</a:t>
                      </a: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Calibri" panose="020F0502020204030204" pitchFamily="34" charset="0"/>
                        </a:rPr>
                        <a:t> на обслуживание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08600840"/>
                  </a:ext>
                </a:extLst>
              </a:tr>
              <a:tr h="311870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Ведение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счета </a:t>
                      </a:r>
                      <a:r>
                        <a:rPr lang="en-US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c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ДБ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300 руб</a:t>
                      </a:r>
                      <a:r>
                        <a:rPr lang="ru-RU" sz="1400" u="none" strike="noStrike" dirty="0" smtClean="0">
                          <a:effectLst/>
                        </a:rPr>
                        <a:t>.*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1000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руб.*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600 </a:t>
                      </a:r>
                      <a:r>
                        <a:rPr lang="ru-RU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руб</a:t>
                      </a:r>
                      <a:r>
                        <a:rPr lang="ru-RU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.</a:t>
                      </a:r>
                      <a:r>
                        <a:rPr lang="en-US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*</a:t>
                      </a:r>
                      <a:r>
                        <a:rPr lang="ru-RU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*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 300 руб</a:t>
                      </a:r>
                      <a:r>
                        <a:rPr lang="ru-RU" sz="1400" u="none" strike="noStrike" dirty="0" smtClean="0">
                          <a:effectLst/>
                        </a:rPr>
                        <a:t>.*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60349111"/>
                  </a:ext>
                </a:extLst>
              </a:tr>
              <a:tr h="311870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Стоимость 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латежа в руб. с ДБ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35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40 </a:t>
                      </a:r>
                      <a:r>
                        <a:rPr lang="ru-RU" sz="14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руб</a:t>
                      </a:r>
                      <a:r>
                        <a:rPr lang="ru-RU" sz="1400" b="1" u="none" strike="noStrike" dirty="0" smtClean="0">
                          <a:solidFill>
                            <a:srgbClr val="FF0000"/>
                          </a:solidFill>
                          <a:effectLst/>
                        </a:rPr>
                        <a:t>.*** </a:t>
                      </a:r>
                      <a:endParaRPr lang="ru-RU" sz="14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35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50564654"/>
                  </a:ext>
                </a:extLst>
              </a:tr>
              <a:tr h="416038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Платежи физ. лицам до 300 тыс. руб./мес</a:t>
                      </a:r>
                      <a:r>
                        <a:rPr lang="ru-RU" sz="1400" u="none" strike="noStrike" dirty="0" smtClean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66110799"/>
                  </a:ext>
                </a:extLst>
              </a:tr>
              <a:tr h="212561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Валютный контрол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>
                          <a:effectLst/>
                        </a:rPr>
                        <a:t>0,15%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4">
                  <a:txBody>
                    <a:bodyPr/>
                    <a:lstStyle/>
                    <a:p>
                      <a:pPr algn="ctr" fontAlgn="b"/>
                      <a:r>
                        <a:rPr lang="ru-RU" sz="1400" u="none" strike="noStrike" dirty="0">
                          <a:effectLst/>
                        </a:rPr>
                        <a:t>0,1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от 0,1% до 0,15%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42299967"/>
                  </a:ext>
                </a:extLst>
              </a:tr>
            </a:tbl>
          </a:graphicData>
        </a:graphic>
      </p:graphicFrame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16099" y="254799"/>
            <a:ext cx="8518028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pPr marL="3239" defTabSz="932962"/>
            <a:r>
              <a:rPr lang="ru-RU" altLang="ru-RU" sz="2400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Тарифные планы</a:t>
            </a:r>
            <a:endParaRPr lang="ru-RU" altLang="ru-RU" sz="2400" dirty="0">
              <a:solidFill>
                <a:schemeClr val="accent6">
                  <a:lumMod val="25000"/>
                </a:schemeClr>
              </a:solidFill>
              <a:latin typeface="Formular" panose="0200000000000000000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517235" y="5940851"/>
            <a:ext cx="991985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* Включает тариф за ведение счета, подключенного к</a:t>
            </a:r>
            <a:r>
              <a:rPr lang="en-US" sz="1200" dirty="0" smtClean="0"/>
              <a:t> </a:t>
            </a:r>
            <a:r>
              <a:rPr lang="ru-RU" sz="1200" dirty="0" smtClean="0"/>
              <a:t>ДБО + облуживание счета в ДБО</a:t>
            </a:r>
            <a:r>
              <a:rPr lang="en-US" sz="1200" dirty="0" smtClean="0"/>
              <a:t> (</a:t>
            </a:r>
            <a:r>
              <a:rPr lang="ru-RU" sz="1200" dirty="0" smtClean="0"/>
              <a:t>ежемесячно</a:t>
            </a:r>
            <a:r>
              <a:rPr lang="en-US" sz="1200" dirty="0" smtClean="0"/>
              <a:t>)</a:t>
            </a:r>
            <a:endParaRPr lang="ru-RU" sz="1200" dirty="0" smtClean="0"/>
          </a:p>
          <a:p>
            <a:r>
              <a:rPr lang="ru-RU" sz="1200" dirty="0" smtClean="0"/>
              <a:t>** с 11-го платежа стоимость ведения счета составляет </a:t>
            </a:r>
            <a:r>
              <a:rPr lang="en-US" sz="1200" dirty="0" smtClean="0"/>
              <a:t>1700 </a:t>
            </a:r>
            <a:r>
              <a:rPr lang="ru-RU" sz="1200" dirty="0" smtClean="0"/>
              <a:t>руб.</a:t>
            </a:r>
          </a:p>
          <a:p>
            <a:r>
              <a:rPr lang="ru-RU" sz="1200" dirty="0" smtClean="0"/>
              <a:t>*** с 11 –</a:t>
            </a:r>
            <a:r>
              <a:rPr lang="ru-RU" sz="1200" dirty="0" err="1" smtClean="0"/>
              <a:t>го</a:t>
            </a:r>
            <a:r>
              <a:rPr lang="ru-RU" sz="1200" dirty="0" smtClean="0"/>
              <a:t> платежа стоимость платежного поручения составляет 100 руб.  </a:t>
            </a:r>
          </a:p>
          <a:p>
            <a:r>
              <a:rPr lang="ru-RU" sz="1200" dirty="0" smtClean="0"/>
              <a:t>**** с бесплатным подключением к мобильному приложению БИБ Бизнес</a:t>
            </a:r>
            <a:r>
              <a:rPr lang="en-US" sz="1200" dirty="0"/>
              <a:t> </a:t>
            </a:r>
            <a:r>
              <a:rPr lang="en-US" sz="1200" dirty="0" smtClean="0"/>
              <a:t>(</a:t>
            </a:r>
            <a:r>
              <a:rPr lang="ru-RU" sz="1200" dirty="0" smtClean="0"/>
              <a:t>услуга не предоставляется в Уфе и Нижнем Новгороде</a:t>
            </a:r>
            <a:r>
              <a:rPr lang="en-US" sz="1200" dirty="0" smtClean="0"/>
              <a:t>) </a:t>
            </a:r>
            <a:endParaRPr lang="ru-RU" sz="1200" dirty="0"/>
          </a:p>
        </p:txBody>
      </p:sp>
      <p:sp>
        <p:nvSpPr>
          <p:cNvPr id="7" name="Прямоугольник 6"/>
          <p:cNvSpPr/>
          <p:nvPr/>
        </p:nvSpPr>
        <p:spPr>
          <a:xfrm>
            <a:off x="10049522" y="1186929"/>
            <a:ext cx="1772672" cy="4764408"/>
          </a:xfrm>
          <a:prstGeom prst="rect">
            <a:avLst/>
          </a:prstGeom>
          <a:solidFill>
            <a:schemeClr val="bg1">
              <a:alpha val="3000"/>
            </a:schemeClr>
          </a:solidFill>
          <a:ln w="349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Выноска-облако 7"/>
          <p:cNvSpPr/>
          <p:nvPr/>
        </p:nvSpPr>
        <p:spPr>
          <a:xfrm>
            <a:off x="8626764" y="158156"/>
            <a:ext cx="3565236" cy="863617"/>
          </a:xfrm>
          <a:prstGeom prst="cloudCallout">
            <a:avLst>
              <a:gd name="adj1" fmla="val 9218"/>
              <a:gd name="adj2" fmla="val 75735"/>
            </a:avLst>
          </a:prstGeom>
          <a:solidFill>
            <a:schemeClr val="bg1"/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Текущий приоритет для банка – клиенты  ВЭД</a:t>
            </a:r>
            <a:endParaRPr lang="ru-RU" sz="1200" dirty="0">
              <a:solidFill>
                <a:schemeClr val="accent6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64208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r>
              <a:rPr lang="ru-RU" altLang="ru-RU" dirty="0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9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816099" y="254799"/>
            <a:ext cx="8518028" cy="369332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pPr marL="3239" defTabSz="932962"/>
            <a:r>
              <a:rPr lang="ru-RU" altLang="ru-RU" sz="2400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Пакеты услуг</a:t>
            </a:r>
            <a:endParaRPr lang="ru-RU" altLang="ru-RU" sz="2400" dirty="0">
              <a:solidFill>
                <a:schemeClr val="accent6">
                  <a:lumMod val="25000"/>
                </a:schemeClr>
              </a:solidFill>
              <a:latin typeface="Formular" panose="02000000000000000000"/>
            </a:endParaRP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86007514"/>
              </p:ext>
            </p:extLst>
          </p:nvPr>
        </p:nvGraphicFramePr>
        <p:xfrm>
          <a:off x="526471" y="1084097"/>
          <a:ext cx="11198801" cy="434422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869101">
                  <a:extLst>
                    <a:ext uri="{9D8B030D-6E8A-4147-A177-3AD203B41FA5}">
                      <a16:colId xmlns:a16="http://schemas.microsoft.com/office/drawing/2014/main" val="3839775385"/>
                    </a:ext>
                  </a:extLst>
                </a:gridCol>
                <a:gridCol w="1490876">
                  <a:extLst>
                    <a:ext uri="{9D8B030D-6E8A-4147-A177-3AD203B41FA5}">
                      <a16:colId xmlns:a16="http://schemas.microsoft.com/office/drawing/2014/main" val="2564100863"/>
                    </a:ext>
                  </a:extLst>
                </a:gridCol>
                <a:gridCol w="1880120">
                  <a:extLst>
                    <a:ext uri="{9D8B030D-6E8A-4147-A177-3AD203B41FA5}">
                      <a16:colId xmlns:a16="http://schemas.microsoft.com/office/drawing/2014/main" val="2517232328"/>
                    </a:ext>
                  </a:extLst>
                </a:gridCol>
                <a:gridCol w="2006080">
                  <a:extLst>
                    <a:ext uri="{9D8B030D-6E8A-4147-A177-3AD203B41FA5}">
                      <a16:colId xmlns:a16="http://schemas.microsoft.com/office/drawing/2014/main" val="1707186466"/>
                    </a:ext>
                  </a:extLst>
                </a:gridCol>
                <a:gridCol w="1952624">
                  <a:extLst>
                    <a:ext uri="{9D8B030D-6E8A-4147-A177-3AD203B41FA5}">
                      <a16:colId xmlns:a16="http://schemas.microsoft.com/office/drawing/2014/main" val="742426413"/>
                    </a:ext>
                  </a:extLst>
                </a:gridCol>
              </a:tblGrid>
              <a:tr h="258735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Параметры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solidFill>
                            <a:schemeClr val="bg1"/>
                          </a:solidFill>
                          <a:effectLst/>
                        </a:rPr>
                        <a:t>Легкий Старт</a:t>
                      </a:r>
                      <a:endParaRPr lang="ru-RU" sz="18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 err="1">
                          <a:solidFill>
                            <a:schemeClr val="bg1"/>
                          </a:solidFill>
                          <a:effectLst/>
                        </a:rPr>
                        <a:t>Лайт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>
                          <a:solidFill>
                            <a:schemeClr val="bg1"/>
                          </a:solidFill>
                          <a:effectLst/>
                        </a:rPr>
                        <a:t>Кредит+</a:t>
                      </a:r>
                      <a:endParaRPr lang="ru-RU" sz="1800" b="1" i="0" u="none" strike="noStrike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800" u="none" strike="noStrike" dirty="0">
                          <a:solidFill>
                            <a:schemeClr val="bg1"/>
                          </a:solidFill>
                          <a:effectLst/>
                        </a:rPr>
                        <a:t>РЕАЛИСТ+СК </a:t>
                      </a:r>
                      <a:r>
                        <a:rPr lang="ru-RU" sz="1800" u="none" strike="noStrike" dirty="0" smtClean="0">
                          <a:solidFill>
                            <a:schemeClr val="bg1"/>
                          </a:solidFill>
                          <a:effectLst/>
                        </a:rPr>
                        <a:t>АСКОР</a:t>
                      </a:r>
                      <a:endParaRPr lang="ru-RU" sz="1800" b="1" i="0" u="none" strike="noStrik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23078008"/>
                  </a:ext>
                </a:extLst>
              </a:tr>
              <a:tr h="194459">
                <a:tc gridSpan="5">
                  <a:txBody>
                    <a:bodyPr/>
                    <a:lstStyle/>
                    <a:p>
                      <a:pPr marL="0" indent="0" algn="ctr" fontAlgn="b">
                        <a:buFont typeface="Wingdings" panose="05000000000000000000" pitchFamily="2" charset="2"/>
                        <a:buNone/>
                      </a:pPr>
                      <a:r>
                        <a:rPr lang="en-US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   </a:t>
                      </a: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слуги по открытию и подключению счета к ДБО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87472586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Открытие счёта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7897371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Изготовление и/или заверение копий </a:t>
                      </a:r>
                      <a:r>
                        <a:rPr lang="ru-RU" sz="1400" u="none" strike="noStrike" dirty="0" smtClean="0">
                          <a:effectLst/>
                        </a:rPr>
                        <a:t>уч. документов </a:t>
                      </a:r>
                      <a:r>
                        <a:rPr lang="ru-RU" sz="1400" u="none" strike="noStrike" dirty="0">
                          <a:effectLst/>
                        </a:rPr>
                        <a:t>(устав, </a:t>
                      </a:r>
                      <a:r>
                        <a:rPr lang="ru-RU" sz="1400" u="none" strike="noStrike" dirty="0" smtClean="0">
                          <a:effectLst/>
                        </a:rPr>
                        <a:t>уч. </a:t>
                      </a:r>
                      <a:r>
                        <a:rPr lang="ru-RU" sz="1400" u="none" strike="noStrike" dirty="0">
                          <a:effectLst/>
                        </a:rPr>
                        <a:t>договор и </a:t>
                      </a:r>
                      <a:r>
                        <a:rPr lang="ru-RU" sz="1400" u="none" strike="noStrike" dirty="0" smtClean="0">
                          <a:effectLst/>
                        </a:rPr>
                        <a:t>пр.)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0 руб. 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по ТП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Базовы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9907645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Заверение КОП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по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ТП Базовы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63932622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 smtClean="0">
                          <a:effectLst/>
                        </a:rPr>
                        <a:t>Подключение к ДБО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*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</a:t>
                      </a:r>
                      <a:r>
                        <a:rPr lang="ru-RU" sz="1400" u="none" strike="noStrike" dirty="0" smtClean="0">
                          <a:effectLst/>
                        </a:rPr>
                        <a:t>. 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по тарифу Базовы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по</a:t>
                      </a:r>
                      <a:r>
                        <a:rPr lang="ru-RU" sz="1400" b="0" i="0" u="none" strike="noStrike" baseline="0" dirty="0" smtClean="0">
                          <a:solidFill>
                            <a:schemeClr val="dk1"/>
                          </a:solidFill>
                          <a:effectLst/>
                          <a:latin typeface="+mn-lt"/>
                        </a:rPr>
                        <a:t> ТП Базовы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836489846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Выдача чековой книжки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30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0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0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694460690"/>
                  </a:ext>
                </a:extLst>
              </a:tr>
              <a:tr h="194459">
                <a:tc gridSpan="5"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Услуги по обслуживанию счета к ДБ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152588589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Ведение </a:t>
                      </a:r>
                      <a:r>
                        <a:rPr lang="ru-RU" sz="1400" u="none" strike="noStrike" dirty="0" smtClean="0">
                          <a:effectLst/>
                        </a:rPr>
                        <a:t>и обслуживание счета с ДБ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</a:t>
                      </a:r>
                      <a:r>
                        <a:rPr lang="ru-RU" sz="1400" u="none" strike="noStrike" dirty="0" smtClean="0">
                          <a:effectLst/>
                        </a:rPr>
                        <a:t>. 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**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0 </a:t>
                      </a:r>
                      <a:r>
                        <a:rPr lang="ru-RU" sz="1400" u="none" strike="noStrike" dirty="0">
                          <a:effectLst/>
                        </a:rPr>
                        <a:t>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08681842"/>
                  </a:ext>
                </a:extLst>
              </a:tr>
              <a:tr h="570326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 smtClean="0">
                          <a:effectLst/>
                        </a:rPr>
                        <a:t>Стоимость платежа</a:t>
                      </a:r>
                      <a:r>
                        <a:rPr lang="ru-RU" sz="1400" u="none" strike="noStrike" baseline="0" dirty="0" smtClean="0">
                          <a:effectLst/>
                        </a:rPr>
                        <a:t> в </a:t>
                      </a:r>
                      <a:r>
                        <a:rPr lang="ru-RU" sz="1400" u="none" strike="noStrike" dirty="0" smtClean="0">
                          <a:effectLst/>
                        </a:rPr>
                        <a:t>руб. с ДБ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5 </a:t>
                      </a:r>
                      <a:r>
                        <a:rPr lang="ru-RU" sz="1400" u="none" strike="noStrike" dirty="0" smtClean="0">
                          <a:effectLst/>
                        </a:rPr>
                        <a:t>п/п </a:t>
                      </a:r>
                      <a:r>
                        <a:rPr lang="ru-RU" sz="1400" u="none" strike="noStrike" dirty="0">
                          <a:effectLst/>
                        </a:rPr>
                        <a:t>в мес. </a:t>
                      </a:r>
                      <a:r>
                        <a:rPr lang="ru-RU" sz="1400" u="none" strike="noStrike" dirty="0" smtClean="0">
                          <a:effectLst/>
                        </a:rPr>
                        <a:t>- 0 руб.</a:t>
                      </a:r>
                    </a:p>
                    <a:p>
                      <a:pPr algn="ctr" fontAlgn="ctr"/>
                      <a:r>
                        <a:rPr lang="ru-RU" sz="1200" b="0" i="1" u="none" strike="noStrike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(</a:t>
                      </a:r>
                      <a:r>
                        <a:rPr lang="ru-RU" sz="1200" b="0" i="1" u="none" strike="noStrike" baseline="0" dirty="0" smtClean="0">
                          <a:solidFill>
                            <a:srgbClr val="C00000"/>
                          </a:solidFill>
                          <a:effectLst/>
                          <a:latin typeface="Calibri" panose="020F0502020204030204" pitchFamily="34" charset="0"/>
                        </a:rPr>
                        <a:t>с 6-го – 100 руб.)</a:t>
                      </a:r>
                      <a:endParaRPr lang="ru-RU" sz="1200" b="0" i="1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15 </a:t>
                      </a:r>
                      <a:r>
                        <a:rPr lang="ru-RU" sz="1400" u="none" strike="noStrike" dirty="0" smtClean="0">
                          <a:effectLst/>
                        </a:rPr>
                        <a:t>п/п </a:t>
                      </a:r>
                      <a:r>
                        <a:rPr lang="ru-RU" sz="1400" u="none" strike="noStrike" dirty="0">
                          <a:effectLst/>
                        </a:rPr>
                        <a:t>в мес. </a:t>
                      </a:r>
                      <a:r>
                        <a:rPr lang="ru-RU" sz="1400" u="none" strike="noStrike" dirty="0" smtClean="0">
                          <a:effectLst/>
                        </a:rPr>
                        <a:t>– 0 руб.</a:t>
                      </a:r>
                    </a:p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 </a:t>
                      </a:r>
                      <a:r>
                        <a:rPr lang="ru-RU" sz="1200" b="0" i="1" u="none" strike="noStrike" dirty="0" smtClean="0">
                          <a:solidFill>
                            <a:srgbClr val="C00000"/>
                          </a:solidFill>
                          <a:effectLst/>
                        </a:rPr>
                        <a:t>(с</a:t>
                      </a:r>
                      <a:r>
                        <a:rPr lang="ru-RU" sz="1200" b="0" i="1" u="none" strike="noStrike" baseline="0" dirty="0" smtClean="0">
                          <a:solidFill>
                            <a:srgbClr val="C00000"/>
                          </a:solidFill>
                          <a:effectLst/>
                        </a:rPr>
                        <a:t> 16-го – ТП Базовый) </a:t>
                      </a:r>
                      <a:endParaRPr lang="ru-RU" sz="1200" b="0" i="1" u="none" strike="noStrike" dirty="0">
                        <a:solidFill>
                          <a:srgbClr val="C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30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85298250"/>
                  </a:ext>
                </a:extLst>
              </a:tr>
              <a:tr h="194459">
                <a:tc>
                  <a:txBody>
                    <a:bodyPr/>
                    <a:lstStyle/>
                    <a:p>
                      <a:pPr marL="0" indent="0" algn="l" fontAlgn="b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Валютный контроль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по ТП Базовый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14795286"/>
                  </a:ext>
                </a:extLst>
              </a:tr>
              <a:tr h="758259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>
                          <a:effectLst/>
                        </a:rPr>
                        <a:t>Перевод денежных средств со счета в другой банк с признаком </a:t>
                      </a:r>
                      <a:r>
                        <a:rPr lang="ru-RU" sz="1400" u="none" strike="noStrike" dirty="0" smtClean="0">
                          <a:effectLst/>
                        </a:rPr>
                        <a:t>срочности (вне рейса)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0 руб.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,05 % от </a:t>
                      </a:r>
                      <a:r>
                        <a:rPr lang="ru-RU" sz="1400" u="none" strike="noStrike" dirty="0" smtClean="0">
                          <a:effectLst/>
                        </a:rPr>
                        <a:t>суммы 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***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0,05 % от </a:t>
                      </a:r>
                      <a:r>
                        <a:rPr lang="ru-RU" sz="1400" u="none" strike="noStrike" dirty="0" smtClean="0">
                          <a:effectLst/>
                        </a:rPr>
                        <a:t>суммы</a:t>
                      </a:r>
                      <a:r>
                        <a:rPr lang="ru-RU" sz="1400" u="none" strike="noStrike" dirty="0" smtClean="0">
                          <a:solidFill>
                            <a:schemeClr val="tx1"/>
                          </a:solidFill>
                          <a:effectLst/>
                        </a:rPr>
                        <a:t>****</a:t>
                      </a:r>
                      <a:endParaRPr lang="ru-RU" sz="1400" b="0" i="0" u="none" strike="noStrike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15655236"/>
                  </a:ext>
                </a:extLst>
              </a:tr>
              <a:tr h="256233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u="none" strike="noStrike" dirty="0" smtClean="0">
                          <a:effectLst/>
                        </a:rPr>
                        <a:t>Продленный операционный день до 19:30, руб.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>
                          <a:effectLst/>
                        </a:rPr>
                        <a:t>до 19-30</a:t>
                      </a:r>
                      <a:endParaRPr lang="ru-RU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>
                          <a:effectLst/>
                        </a:rPr>
                        <a:t>до 19-30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не включен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u="none" strike="noStrike" dirty="0" smtClean="0">
                          <a:effectLst/>
                        </a:rPr>
                        <a:t>не включено</a:t>
                      </a:r>
                      <a:endParaRPr lang="ru-RU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665384161"/>
                  </a:ext>
                </a:extLst>
              </a:tr>
              <a:tr h="256233">
                <a:tc>
                  <a:txBody>
                    <a:bodyPr/>
                    <a:lstStyle/>
                    <a:p>
                      <a:pPr marL="0" indent="0" algn="l" fontAlgn="ctr">
                        <a:buFont typeface="Wingdings" panose="05000000000000000000" pitchFamily="2" charset="2"/>
                        <a:buNone/>
                      </a:pPr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Стоимость пакета</a:t>
                      </a: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  <a:r>
                        <a:rPr lang="ru-RU" sz="1400" b="1" i="1" u="none" strike="noStrike" baseline="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руб.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000 руб.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 руб.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4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600 руб.</a:t>
                      </a:r>
                      <a:endParaRPr lang="ru-RU" sz="1400" b="1" i="1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3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26400173"/>
                  </a:ext>
                </a:extLst>
              </a:tr>
            </a:tbl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526472" y="5584805"/>
            <a:ext cx="1119880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* бесплатно </a:t>
            </a:r>
            <a:r>
              <a:rPr lang="ru-RU" sz="1200" dirty="0"/>
              <a:t>при пополнении счета на 5000 руб. в течение 3-х дней с даты открытия счета, в ином случае до 1200 руб.</a:t>
            </a:r>
          </a:p>
          <a:p>
            <a:r>
              <a:rPr lang="ru-RU" sz="1200" dirty="0" smtClean="0"/>
              <a:t>** </a:t>
            </a:r>
            <a:r>
              <a:rPr lang="ru-RU" sz="1200" dirty="0"/>
              <a:t>без </a:t>
            </a:r>
            <a:r>
              <a:rPr lang="ru-RU" sz="1200" dirty="0" err="1" smtClean="0"/>
              <a:t>токена</a:t>
            </a:r>
            <a:r>
              <a:rPr lang="ru-RU" sz="1200" dirty="0" smtClean="0"/>
              <a:t>, включая подключение к мобильному приложению «БИБ Бизнес»</a:t>
            </a:r>
            <a:endParaRPr lang="ru-RU" sz="1200" dirty="0"/>
          </a:p>
          <a:p>
            <a:r>
              <a:rPr lang="ru-RU" sz="1200" dirty="0" smtClean="0"/>
              <a:t>*** ведение счета (ДБО/без ДБО) в первый </a:t>
            </a:r>
            <a:r>
              <a:rPr lang="ru-RU" sz="1200" dirty="0"/>
              <a:t>месяц </a:t>
            </a:r>
            <a:r>
              <a:rPr lang="ru-RU" sz="1200" dirty="0" smtClean="0"/>
              <a:t>обслуживания – бесплатно, </a:t>
            </a:r>
            <a:r>
              <a:rPr lang="ru-RU" sz="1200" dirty="0"/>
              <a:t>далее </a:t>
            </a:r>
            <a:r>
              <a:rPr lang="ru-RU" sz="1200" dirty="0" smtClean="0"/>
              <a:t>– при условии проведения </a:t>
            </a:r>
            <a:r>
              <a:rPr lang="ru-RU" sz="1200" dirty="0"/>
              <a:t>30-и и более платежей </a:t>
            </a:r>
            <a:r>
              <a:rPr lang="ru-RU" sz="1200" dirty="0" smtClean="0"/>
              <a:t>/мес. и поддержания остатка в размере не менее 500 </a:t>
            </a:r>
            <a:r>
              <a:rPr lang="ru-RU" sz="1200" dirty="0" err="1" smtClean="0"/>
              <a:t>тыс.руб</a:t>
            </a:r>
            <a:r>
              <a:rPr lang="ru-RU" sz="1200" dirty="0" smtClean="0"/>
              <a:t>. – бесплатно. При невыполнении указанных параметров – в соответствии с ТП «Базовый» </a:t>
            </a:r>
            <a:endParaRPr lang="ru-RU" sz="1200" dirty="0"/>
          </a:p>
          <a:p>
            <a:r>
              <a:rPr lang="ru-RU" sz="1200" dirty="0" smtClean="0"/>
              <a:t>**** минимум 100 руб., максимум 500 руб.  </a:t>
            </a:r>
          </a:p>
        </p:txBody>
      </p:sp>
      <p:sp>
        <p:nvSpPr>
          <p:cNvPr id="10" name="Выноска-облако 9"/>
          <p:cNvSpPr/>
          <p:nvPr/>
        </p:nvSpPr>
        <p:spPr>
          <a:xfrm>
            <a:off x="4791076" y="254800"/>
            <a:ext cx="4743450" cy="702114"/>
          </a:xfrm>
          <a:prstGeom prst="cloudCallout">
            <a:avLst>
              <a:gd name="adj1" fmla="val -4301"/>
              <a:gd name="adj2" fmla="val 75475"/>
            </a:avLst>
          </a:prstGeom>
          <a:solidFill>
            <a:schemeClr val="bg1"/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Для клиентов с </a:t>
            </a:r>
            <a:r>
              <a:rPr lang="ru-RU" sz="1200" dirty="0">
                <a:solidFill>
                  <a:schemeClr val="accent6">
                    <a:lumMod val="10000"/>
                  </a:schemeClr>
                </a:solidFill>
              </a:rPr>
              <a:t>одобренным </a:t>
            </a:r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решением по кредитным сделкам</a:t>
            </a:r>
            <a:endParaRPr lang="ru-RU" sz="1200" dirty="0">
              <a:solidFill>
                <a:schemeClr val="accent6">
                  <a:lumMod val="10000"/>
                </a:schemeClr>
              </a:solidFill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4403324" y="1066746"/>
            <a:ext cx="5299969" cy="4437531"/>
          </a:xfrm>
          <a:prstGeom prst="rect">
            <a:avLst/>
          </a:prstGeom>
          <a:solidFill>
            <a:schemeClr val="bg1">
              <a:alpha val="3000"/>
            </a:schemeClr>
          </a:solidFill>
          <a:ln w="34925">
            <a:solidFill>
              <a:srgbClr val="C00000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3" name="Выноска-облако 12"/>
          <p:cNvSpPr/>
          <p:nvPr/>
        </p:nvSpPr>
        <p:spPr>
          <a:xfrm>
            <a:off x="9620166" y="187137"/>
            <a:ext cx="2424052" cy="782643"/>
          </a:xfrm>
          <a:prstGeom prst="cloudCallout">
            <a:avLst>
              <a:gd name="adj1" fmla="val -4301"/>
              <a:gd name="adj2" fmla="val 75475"/>
            </a:avLst>
          </a:prstGeom>
          <a:solidFill>
            <a:schemeClr val="bg1"/>
          </a:solidFill>
          <a:ln w="158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Для клиентов </a:t>
            </a:r>
          </a:p>
          <a:p>
            <a:pPr algn="ctr"/>
            <a:r>
              <a:rPr lang="ru-RU" sz="1200" dirty="0" smtClean="0">
                <a:solidFill>
                  <a:schemeClr val="accent6">
                    <a:lumMod val="10000"/>
                  </a:schemeClr>
                </a:solidFill>
              </a:rPr>
              <a:t>в стадии банкротства</a:t>
            </a:r>
            <a:endParaRPr lang="ru-RU" sz="1200" dirty="0">
              <a:solidFill>
                <a:schemeClr val="accent6">
                  <a:lumMod val="1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1751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7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67433" y="317460"/>
            <a:ext cx="8097173" cy="488204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Часто задаваемые вопросы и ответы на ни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97269832"/>
              </p:ext>
            </p:extLst>
          </p:nvPr>
        </p:nvGraphicFramePr>
        <p:xfrm>
          <a:off x="204186" y="805664"/>
          <a:ext cx="11564495" cy="567169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sx="3000" sy="3000" algn="ctr" rotWithShape="0">
                    <a:srgbClr val="000000">
                      <a:alpha val="43137"/>
                    </a:srgbClr>
                  </a:outerShdw>
                </a:effectLst>
                <a:tableStyleId>{073A0DAA-6AF3-43AB-8588-CEC1D06C72B9}</a:tableStyleId>
              </a:tblPr>
              <a:tblGrid>
                <a:gridCol w="3852909">
                  <a:extLst>
                    <a:ext uri="{9D8B030D-6E8A-4147-A177-3AD203B41FA5}">
                      <a16:colId xmlns:a16="http://schemas.microsoft.com/office/drawing/2014/main" val="2508637711"/>
                    </a:ext>
                  </a:extLst>
                </a:gridCol>
                <a:gridCol w="7711586">
                  <a:extLst>
                    <a:ext uri="{9D8B030D-6E8A-4147-A177-3AD203B41FA5}">
                      <a16:colId xmlns:a16="http://schemas.microsoft.com/office/drawing/2014/main" val="2620063068"/>
                    </a:ext>
                  </a:extLst>
                </a:gridCol>
              </a:tblGrid>
              <a:tr h="216574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Вопросы клиентов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тветы 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028174"/>
                  </a:ext>
                </a:extLst>
              </a:tr>
              <a:tr h="21657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Что это за Банк? 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О «РЕАЛИСТ БАНК» существует на рынке более 30 лет!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анк является частью группы компаний М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RLION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– крупнейшего российского дистрибьютера на рынке 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T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. В структуру группы входят такие компании как:          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итель цифровых устройств 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DIGMA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рупнейшая девелоперская компания, компания-застройщик 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TEKTA GROUP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;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роизводственная компания «Бюрократ» - производство канцелярских принадлежностей, офисных стульев;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Первая 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факторинговая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компания (ПФК) ;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Российская сеть магазинов «</a:t>
                      </a:r>
                      <a:r>
                        <a:rPr lang="ru-RU" sz="1300" kern="1200" dirty="0" err="1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итилинк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»;</a:t>
                      </a:r>
                    </a:p>
                    <a:p>
                      <a:pPr marL="285750" lvl="0" indent="-285750">
                        <a:buFont typeface="Wingdings" panose="05000000000000000000" pitchFamily="2" charset="2"/>
                        <a:buChar char="ü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ОО «Реалист-Лизинг» – лизинговая компания с широкой филиальной сетью. 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439538"/>
                  </a:ext>
                </a:extLst>
              </a:tr>
              <a:tr h="26498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Банк находится под санкциями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Нет. Банк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активно предоставляет услуги по ВЭД</a:t>
                      </a:r>
                      <a:r>
                        <a:rPr lang="ru-RU" sz="1300" dirty="0" smtClean="0"/>
                        <a:t>, в том числе Банк работает через </a:t>
                      </a:r>
                      <a:r>
                        <a:rPr lang="en-US" sz="1300" dirty="0" smtClean="0"/>
                        <a:t>SWIFT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86922"/>
                  </a:ext>
                </a:extLst>
              </a:tr>
              <a:tr h="21657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 подключается ДБО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После открытия счета и оплаты комиссии в ваш адрес поступит смс-сообщение</a:t>
                      </a:r>
                      <a:r>
                        <a:rPr lang="ru-RU" sz="1300" baseline="0" dirty="0" smtClean="0"/>
                        <a:t> с логином и паролем для входа в ДБО. Этого достаточно для того, что бы начать работать в ДБО.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baseline="0" dirty="0" smtClean="0"/>
                        <a:t>Если вы захотите использовать для подписи Усиленную</a:t>
                      </a:r>
                      <a:r>
                        <a:rPr lang="en-US" sz="1300" baseline="0" dirty="0" smtClean="0"/>
                        <a:t> </a:t>
                      </a:r>
                      <a:r>
                        <a:rPr lang="ru-RU" sz="1300" baseline="0" dirty="0" smtClean="0"/>
                        <a:t>Неквалифицированную</a:t>
                      </a:r>
                      <a:r>
                        <a:rPr lang="en-US" sz="1300" baseline="0" dirty="0" smtClean="0"/>
                        <a:t> </a:t>
                      </a:r>
                      <a:r>
                        <a:rPr lang="ru-RU" sz="1300" baseline="0" dirty="0" smtClean="0"/>
                        <a:t>Электронную</a:t>
                      </a:r>
                      <a:r>
                        <a:rPr lang="en-US" sz="1300" baseline="0" dirty="0" smtClean="0"/>
                        <a:t> </a:t>
                      </a:r>
                      <a:r>
                        <a:rPr lang="ru-RU" sz="1300" baseline="0" dirty="0" smtClean="0"/>
                        <a:t>Подпись (УНЭП), то вам необходимо получить в Банке </a:t>
                      </a:r>
                      <a:r>
                        <a:rPr lang="ru-RU" sz="1300" baseline="0" dirty="0" err="1" smtClean="0"/>
                        <a:t>токен</a:t>
                      </a:r>
                      <a:r>
                        <a:rPr lang="ru-RU" sz="1300" baseline="0" dirty="0" smtClean="0"/>
                        <a:t> и выпустить подпись.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161619"/>
                  </a:ext>
                </a:extLst>
              </a:tr>
              <a:tr h="36817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Я сразу могу пользоваться ДБО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Да. 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В целях безопасности,</a:t>
                      </a:r>
                      <a:r>
                        <a:rPr lang="en-US" sz="13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при первом входе </a:t>
                      </a:r>
                      <a:r>
                        <a:rPr lang="ru-RU" sz="1300" dirty="0" smtClean="0"/>
                        <a:t>необходимо произвести смену</a:t>
                      </a:r>
                      <a:r>
                        <a:rPr lang="ru-RU" sz="1300" baseline="0" dirty="0" smtClean="0"/>
                        <a:t> </a:t>
                      </a:r>
                      <a:r>
                        <a:rPr lang="ru-RU" sz="1300" dirty="0" smtClean="0"/>
                        <a:t>пароля для входа в ДБО.</a:t>
                      </a: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5436175"/>
                  </a:ext>
                </a:extLst>
              </a:tr>
              <a:tr h="36817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Сколько стоит открытие счета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Стоимость открытия расчетного счета - от 0 до</a:t>
                      </a:r>
                      <a:r>
                        <a:rPr lang="ru-RU" sz="1300" baseline="0" dirty="0" smtClean="0"/>
                        <a:t> 1 000 руб. (зависит </a:t>
                      </a:r>
                      <a:r>
                        <a:rPr lang="ru-RU" sz="1300" dirty="0" smtClean="0"/>
                        <a:t>от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Тарифного плана, см. слайд 3). Для разных категорий клиентов с одобренными кредитными решениями в Банке 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существуют пакетные предложения, в рамках которых открытие счета  бесплатно.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793463"/>
                  </a:ext>
                </a:extLst>
              </a:tr>
              <a:tr h="216574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Сколько стоит ведение счета в месяц?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dirty="0" smtClean="0"/>
                        <a:t>Стоимость ведения счета с использованием ДБО составляет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от 600 рублей до 1 500 </a:t>
                      </a:r>
                      <a:r>
                        <a:rPr lang="ru-RU" sz="1300" dirty="0" smtClean="0"/>
                        <a:t>руб.</a:t>
                      </a:r>
                      <a:r>
                        <a:rPr lang="ru-RU" sz="1300" baseline="0" dirty="0" smtClean="0"/>
                        <a:t> (</a:t>
                      </a:r>
                      <a:r>
                        <a:rPr lang="ru-RU" sz="1300" dirty="0" smtClean="0"/>
                        <a:t>зависит от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выбранного Тарифного плана). </a:t>
                      </a:r>
                      <a:endParaRPr lang="ru-RU" sz="1300" strike="sngStrike" baseline="0" dirty="0" smtClean="0">
                        <a:solidFill>
                          <a:schemeClr val="tx1"/>
                        </a:solidFill>
                      </a:endParaRP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Для категорий клиентов с одобренными кредитными решениями в Банке существуют пакетные предложения, в рамках которых ведение счета бесплатно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13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172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4867400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8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sp>
        <p:nvSpPr>
          <p:cNvPr id="137218" name="Rectangle 2"/>
          <p:cNvSpPr>
            <a:spLocks noGrp="1" noChangeArrowheads="1"/>
          </p:cNvSpPr>
          <p:nvPr>
            <p:ph type="title"/>
          </p:nvPr>
        </p:nvSpPr>
        <p:spPr bwMode="gray">
          <a:xfrm>
            <a:off x="513427" y="140941"/>
            <a:ext cx="8097173" cy="488204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/>
          <a:lstStyle/>
          <a:p>
            <a:pPr marL="3239" defTabSz="932962" eaLnBrk="1" hangingPunct="1"/>
            <a:r>
              <a:rPr lang="ru-RU" altLang="ru-RU" sz="2400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Часто задаваемые вопросы и ответы на них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25023239"/>
              </p:ext>
            </p:extLst>
          </p:nvPr>
        </p:nvGraphicFramePr>
        <p:xfrm>
          <a:off x="229985" y="629145"/>
          <a:ext cx="11514338" cy="6127717"/>
        </p:xfrm>
        <a:graphic>
          <a:graphicData uri="http://schemas.openxmlformats.org/drawingml/2006/table">
            <a:tbl>
              <a:tblPr firstRow="1" bandRow="1">
                <a:effectLst>
                  <a:outerShdw blurRad="50800" dist="50800" dir="5400000" sx="3000" sy="3000" algn="ctr" rotWithShape="0">
                    <a:srgbClr val="000000">
                      <a:alpha val="43137"/>
                    </a:srgbClr>
                  </a:outerShdw>
                </a:effectLst>
                <a:tableStyleId>{073A0DAA-6AF3-43AB-8588-CEC1D06C72B9}</a:tableStyleId>
              </a:tblPr>
              <a:tblGrid>
                <a:gridCol w="4269318">
                  <a:extLst>
                    <a:ext uri="{9D8B030D-6E8A-4147-A177-3AD203B41FA5}">
                      <a16:colId xmlns:a16="http://schemas.microsoft.com/office/drawing/2014/main" val="2508637711"/>
                    </a:ext>
                  </a:extLst>
                </a:gridCol>
                <a:gridCol w="7245020">
                  <a:extLst>
                    <a:ext uri="{9D8B030D-6E8A-4147-A177-3AD203B41FA5}">
                      <a16:colId xmlns:a16="http://schemas.microsoft.com/office/drawing/2014/main" val="2620063068"/>
                    </a:ext>
                  </a:extLst>
                </a:gridCol>
              </a:tblGrid>
              <a:tr h="276848"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Вопросы клиентов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300" dirty="0" smtClean="0"/>
                        <a:t>Ответы </a:t>
                      </a:r>
                      <a:endParaRPr lang="ru-RU" sz="1300" dirty="0"/>
                    </a:p>
                  </a:txBody>
                  <a:tcPr>
                    <a:solidFill>
                      <a:schemeClr val="accent5">
                        <a:lumMod val="2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76028174"/>
                  </a:ext>
                </a:extLst>
              </a:tr>
              <a:tr h="84511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Какая стоимость рублевого платежного поручения?</a:t>
                      </a: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Стоимость платежного поручения направленного с </a:t>
                      </a: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использованием ДБО зависит от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ыбранного Тарифного плана от 30 до 40 руб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r>
                        <a:rPr lang="ru-RU" sz="1300" baseline="0" dirty="0" smtClean="0"/>
                        <a:t>Для разных категорий в Банке существуют пакетные предложения, в рамках которых предусмотрено определенное кол-во бесплатных платежей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01439538"/>
                  </a:ext>
                </a:extLst>
              </a:tr>
              <a:tr h="1034538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Обязательно</a:t>
                      </a:r>
                      <a:r>
                        <a:rPr lang="ru-RU" sz="1300" baseline="0" dirty="0" smtClean="0"/>
                        <a:t> ли 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получать выпускать электронную подпись на </a:t>
                      </a:r>
                      <a:r>
                        <a:rPr lang="ru-RU" sz="1300" baseline="0" dirty="0" err="1" smtClean="0">
                          <a:solidFill>
                            <a:schemeClr val="tx1"/>
                          </a:solidFill>
                        </a:rPr>
                        <a:t>токене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для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работы в системе ДБО?</a:t>
                      </a:r>
                      <a:r>
                        <a:rPr lang="ru-RU" sz="1300" dirty="0" smtClean="0"/>
                        <a:t> </a:t>
                      </a:r>
                      <a:endParaRPr lang="ru-RU" sz="1300" strike="noStrike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В ДБО можно работать без</a:t>
                      </a:r>
                      <a:r>
                        <a:rPr lang="ru-RU" sz="1300" baseline="0" dirty="0" smtClean="0"/>
                        <a:t> </a:t>
                      </a:r>
                      <a:r>
                        <a:rPr lang="ru-RU" sz="1300" dirty="0" err="1" smtClean="0"/>
                        <a:t>токенов</a:t>
                      </a:r>
                      <a:r>
                        <a:rPr lang="ru-RU" sz="1300" dirty="0" smtClean="0"/>
                        <a:t>.</a:t>
                      </a:r>
                      <a:r>
                        <a:rPr lang="ru-RU" sz="1300" baseline="0" dirty="0" smtClean="0"/>
                        <a:t> Подписание документов в ДБО происходит </a:t>
                      </a:r>
                      <a:r>
                        <a:rPr lang="ru-RU" sz="1300" dirty="0" smtClean="0"/>
                        <a:t>по средствам разовых смс-паролей (простая электронная подпись), при этом в удаленном формате можно поменять привязанный</a:t>
                      </a:r>
                      <a:r>
                        <a:rPr lang="ru-RU" sz="1300" baseline="0" dirty="0" smtClean="0"/>
                        <a:t> к смс-уведомлениям номер мобильного телефона</a:t>
                      </a:r>
                      <a:r>
                        <a:rPr lang="ru-RU" sz="1300" dirty="0" smtClean="0"/>
                        <a:t>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Если вы захотите использовать для подписи УНЭП, то вам необходимо получить в Банке </a:t>
                      </a:r>
                      <a:r>
                        <a:rPr lang="ru-RU" sz="1300" dirty="0" err="1" smtClean="0"/>
                        <a:t>токен</a:t>
                      </a:r>
                      <a:r>
                        <a:rPr lang="ru-RU" sz="1300" dirty="0" smtClean="0"/>
                        <a:t> и выпустить подпись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1186922"/>
                  </a:ext>
                </a:extLst>
              </a:tr>
              <a:tr h="276848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У меня не ушел / «завис» рублевый платеж</a:t>
                      </a:r>
                      <a:endParaRPr lang="ru-RU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вяжитесь</a:t>
                      </a:r>
                      <a:r>
                        <a:rPr lang="ru-RU" sz="13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 Вашим менеджером и он в короткие сроки даст необходимые пояснения</a:t>
                      </a:r>
                      <a:endParaRPr lang="ru-RU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90161619"/>
                  </a:ext>
                </a:extLst>
              </a:tr>
              <a:tr h="427957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Проблемы с входом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/ работой в </a:t>
                      </a:r>
                      <a:r>
                        <a:rPr lang="ru-RU" sz="1300" dirty="0" smtClean="0"/>
                        <a:t>ДБО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Свяжитесь</a:t>
                      </a:r>
                      <a:r>
                        <a:rPr lang="ru-RU" sz="13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с Вашим менеджером и он в короткие сроки даст необходимые пояснения</a:t>
                      </a:r>
                      <a:endParaRPr lang="ru-RU" sz="1300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15436175"/>
                  </a:ext>
                </a:extLst>
              </a:tr>
              <a:tr h="655693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До какого времени длится операционный день (возможно ли проводить платежи после окончания операционного дня)? 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Операционный день длится до 18:00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Отправка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срочных платежей возможна до 19:30. Комиссия за отправку срочных платежей после 18:00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 взимается в соответствии</a:t>
                      </a:r>
                      <a:r>
                        <a:rPr lang="ru-RU" sz="1300" baseline="0" dirty="0" smtClean="0">
                          <a:solidFill>
                            <a:schemeClr val="tx1"/>
                          </a:solidFill>
                        </a:rPr>
                        <a:t> с </a:t>
                      </a:r>
                      <a:r>
                        <a:rPr lang="ru-RU" sz="1300" dirty="0" smtClean="0">
                          <a:solidFill>
                            <a:schemeClr val="tx1"/>
                          </a:solidFill>
                        </a:rPr>
                        <a:t>тарифами Банка </a:t>
                      </a:r>
                      <a:endParaRPr lang="ru-RU" sz="13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91793463"/>
                  </a:ext>
                </a:extLst>
              </a:tr>
              <a:tr h="2360496"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Может ли Банк заблокировать / остановить платежи?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dirty="0" smtClean="0"/>
                        <a:t>Как «жестко» служба финансового мониторинга Банка отслеживает платежи клиентов? </a:t>
                      </a:r>
                      <a:endParaRPr lang="ru-RU" sz="13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Банк обязан соблюдать требования Федерального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Закона 115-ФЗ,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Банка России, в том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числе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оценивать риски по операциям Клиентов, анализировать деловую репутацию Клиентов и цели их деятельности. Банк  в праве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, в том числе при наличии признаков  подозрительной операции, приостановить обслуживания Клиента / заблокировать возможность совершения операций с использованием ДБО.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В случае получения от Банка запроса на предоставление дополнительных документов Вы можете направить их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 ДБО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или предоставить на бумажном носителе клиентскому менеджеру. Если в период проверки Вам необходимо отправить платеж, платежные поручения необходимо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предоставить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на бумаге в отделение Банка. </a:t>
                      </a:r>
                    </a:p>
                    <a:p>
                      <a:pPr marL="285750" indent="-285750">
                        <a:buFont typeface="Wingdings" panose="05000000000000000000" pitchFamily="2" charset="2"/>
                        <a:buChar char="§"/>
                      </a:pP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Если Вам</a:t>
                      </a:r>
                      <a:r>
                        <a:rPr lang="en-US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требуется дополнительное время для предоставления документов или какой-либо документ невозможно предоставить, обязательно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уведомите об этом письмом в интернет-банке или напишите</a:t>
                      </a:r>
                      <a:r>
                        <a:rPr lang="ru-RU" sz="1300" kern="1200" baseline="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Вашему</a:t>
                      </a:r>
                      <a:r>
                        <a:rPr lang="ru-RU" sz="1300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клиентскому менеджеру.</a:t>
                      </a:r>
                    </a:p>
                    <a:p>
                      <a:pPr marL="285750" marR="0" indent="-28575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§"/>
                        <a:tabLst/>
                        <a:defRPr/>
                      </a:pPr>
                      <a:endParaRPr lang="ru-RU" sz="13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717292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690062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280"/>
          <p:cNvSpPr>
            <a:spLocks noGrp="1" noChangeArrowheads="1"/>
          </p:cNvSpPr>
          <p:nvPr>
            <p:ph type="sldNum" sz="quarter" idx="10"/>
            <p:custDataLst>
              <p:tags r:id="rId1"/>
            </p:custDataLst>
          </p:nvPr>
        </p:nvSpPr>
        <p:spPr>
          <a:ln/>
        </p:spPr>
        <p:txBody>
          <a:bodyPr/>
          <a:lstStyle/>
          <a:p>
            <a:pPr defTabSz="932962" fontAlgn="base">
              <a:spcBef>
                <a:spcPct val="0"/>
              </a:spcBef>
              <a:spcAft>
                <a:spcPct val="0"/>
              </a:spcAft>
            </a:pPr>
            <a:fld id="{5BDE3E92-56AF-4B7B-B802-0E8D6DC059C7}" type="slidenum">
              <a:rPr lang="ru-RU" altLang="ru-RU">
                <a:latin typeface="Arial" panose="020B0604020202020204" pitchFamily="34" charset="0"/>
              </a:rPr>
              <a:pPr defTabSz="932962" fontAlgn="base">
                <a:spcBef>
                  <a:spcPct val="0"/>
                </a:spcBef>
                <a:spcAft>
                  <a:spcPct val="0"/>
                </a:spcAft>
              </a:pPr>
              <a:t>9</a:t>
            </a:fld>
            <a:r>
              <a:rPr lang="ru-RU" altLang="ru-RU">
                <a:latin typeface="Arial" panose="020B0604020202020204" pitchFamily="34" charset="0"/>
              </a:rPr>
              <a:t>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87139" y="166835"/>
            <a:ext cx="314369" cy="285790"/>
          </a:xfrm>
          <a:prstGeom prst="rect">
            <a:avLst/>
          </a:prstGeom>
        </p:spPr>
      </p:pic>
      <p:sp>
        <p:nvSpPr>
          <p:cNvPr id="9" name="Rectangle 2"/>
          <p:cNvSpPr txBox="1">
            <a:spLocks noChangeArrowheads="1"/>
          </p:cNvSpPr>
          <p:nvPr/>
        </p:nvSpPr>
        <p:spPr bwMode="gray">
          <a:xfrm>
            <a:off x="690699" y="309730"/>
            <a:ext cx="8531440" cy="369332"/>
          </a:xfrm>
          <a:prstGeom prst="rect">
            <a:avLst/>
          </a:prstGeo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rgbClr val="000000"/>
                </a:solidFill>
                <a:prstDash val="solid"/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bg1"/>
                </a:solidFill>
                <a:latin typeface="Formular" panose="02000000000000000000" pitchFamily="2" charset="0"/>
                <a:ea typeface="+mj-ea"/>
                <a:cs typeface="+mj-cs"/>
              </a:defRPr>
            </a:lvl1pPr>
          </a:lstStyle>
          <a:p>
            <a:pPr marL="3239" defTabSz="932962"/>
            <a:r>
              <a:rPr lang="ru-RU" altLang="ru-RU" sz="2800" b="1" dirty="0" smtClean="0">
                <a:solidFill>
                  <a:schemeClr val="accent6">
                    <a:lumMod val="25000"/>
                  </a:schemeClr>
                </a:solidFill>
                <a:latin typeface="Formular" panose="02000000000000000000"/>
              </a:rPr>
              <a:t>ВЭД И ЕГО ОСОБЕННОСТИ</a:t>
            </a:r>
          </a:p>
        </p:txBody>
      </p:sp>
      <p:sp>
        <p:nvSpPr>
          <p:cNvPr id="5" name="Прямоугольник 4"/>
          <p:cNvSpPr/>
          <p:nvPr/>
        </p:nvSpPr>
        <p:spPr>
          <a:xfrm>
            <a:off x="690699" y="809282"/>
            <a:ext cx="8284853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rgbClr val="002060"/>
                </a:solidFill>
              </a:rPr>
              <a:t>Подробно об условиях Тарифных планов и пакетов </a:t>
            </a:r>
            <a:r>
              <a:rPr lang="ru-RU" dirty="0">
                <a:solidFill>
                  <a:srgbClr val="002060"/>
                </a:solidFill>
              </a:rPr>
              <a:t>услуг </a:t>
            </a:r>
            <a:r>
              <a:rPr lang="ru-RU" dirty="0" smtClean="0">
                <a:solidFill>
                  <a:srgbClr val="002060"/>
                </a:solidFill>
              </a:rPr>
              <a:t>на </a:t>
            </a:r>
            <a:r>
              <a:rPr lang="ru-RU" dirty="0">
                <a:solidFill>
                  <a:srgbClr val="002060"/>
                </a:solidFill>
              </a:rPr>
              <a:t>сайте банка </a:t>
            </a:r>
            <a:r>
              <a:rPr lang="ru-RU" dirty="0" smtClean="0">
                <a:solidFill>
                  <a:srgbClr val="002060"/>
                </a:solidFill>
              </a:rPr>
              <a:t>в разделе «Среднему и малому бизнесу» / РКО / </a:t>
            </a:r>
            <a:r>
              <a:rPr lang="ru-RU" dirty="0">
                <a:solidFill>
                  <a:srgbClr val="002060"/>
                </a:solidFill>
              </a:rPr>
              <a:t>Старт ВЭД </a:t>
            </a:r>
            <a:r>
              <a:rPr lang="ru-RU" dirty="0" smtClean="0">
                <a:solidFill>
                  <a:srgbClr val="002060"/>
                </a:solidFill>
              </a:rPr>
              <a:t>по ссылке: </a:t>
            </a:r>
          </a:p>
          <a:p>
            <a:r>
              <a:rPr lang="en-US" dirty="0">
                <a:solidFill>
                  <a:srgbClr val="002060"/>
                </a:solidFill>
                <a:hlinkClick r:id="rId5"/>
              </a:rPr>
              <a:t>https://realistbank.ru/business/rko/</a:t>
            </a:r>
            <a:endParaRPr lang="ru-RU" dirty="0">
              <a:solidFill>
                <a:srgbClr val="002060"/>
              </a:solidFill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90699" y="2139831"/>
            <a:ext cx="9707534" cy="4504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66092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vzcvsvvUUectdOf.VYaW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Z6wjD9Zm0SDSFdMp7J3Y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pQbYxdwQUGSWDi.8G_E0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0q3RO4XpUyVlqHgJWYqi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44srgUfjEqrgk_1f_eG.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eY.bZDdOEKwRo9RmvMtu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KRh8Udh9UelXDgu01flL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fYFtjYBKkOKX1GhrzQiO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vLYW1Or.k2qaHcD3264F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IdtWXYwUCxq8dd.z42P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Tcbfemq6UiXMCp29CyMH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024HHG.E2XH3ws22D7Y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uP5QIzJdUS9IE8LpAc5ng"/>
</p:tagLst>
</file>

<file path=ppt/theme/theme1.xml><?xml version="1.0" encoding="utf-8"?>
<a:theme xmlns:a="http://schemas.openxmlformats.org/drawingml/2006/main" name="Basic format">
  <a:themeElements>
    <a:clrScheme name="Basic format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91B0FF"/>
      </a:accent2>
      <a:accent3>
        <a:srgbClr val="FFFFFF"/>
      </a:accent3>
      <a:accent4>
        <a:srgbClr val="000000"/>
      </a:accent4>
      <a:accent5>
        <a:srgbClr val="E0EDFD"/>
      </a:accent5>
      <a:accent6>
        <a:srgbClr val="839FE7"/>
      </a:accent6>
      <a:hlink>
        <a:srgbClr val="0066CC"/>
      </a:hlink>
      <a:folHlink>
        <a:srgbClr val="002960"/>
      </a:folHlink>
    </a:clrScheme>
    <a:fontScheme name="Basic forma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asic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c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asic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Тема Office">
  <a:themeElements>
    <a:clrScheme name="Другая 1">
      <a:dk1>
        <a:srgbClr val="000000"/>
      </a:dk1>
      <a:lt1>
        <a:srgbClr val="FFFFFF"/>
      </a:lt1>
      <a:dk2>
        <a:srgbClr val="149658"/>
      </a:dk2>
      <a:lt2>
        <a:srgbClr val="E7E6E6"/>
      </a:lt2>
      <a:accent1>
        <a:srgbClr val="7B7B7B"/>
      </a:accent1>
      <a:accent2>
        <a:srgbClr val="C9C9C9"/>
      </a:accent2>
      <a:accent3>
        <a:srgbClr val="DBDBDB"/>
      </a:accent3>
      <a:accent4>
        <a:srgbClr val="EDEDED"/>
      </a:accent4>
      <a:accent5>
        <a:srgbClr val="8CC8FB"/>
      </a:accent5>
      <a:accent6>
        <a:srgbClr val="D1E9FD"/>
      </a:accent6>
      <a:hlink>
        <a:srgbClr val="002060"/>
      </a:hlink>
      <a:folHlink>
        <a:srgbClr val="7030A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3_Тема Office">
  <a:themeElements>
    <a:clrScheme name="Другая 1">
      <a:dk1>
        <a:srgbClr val="000000"/>
      </a:dk1>
      <a:lt1>
        <a:srgbClr val="FFFFFF"/>
      </a:lt1>
      <a:dk2>
        <a:srgbClr val="149658"/>
      </a:dk2>
      <a:lt2>
        <a:srgbClr val="E7E6E6"/>
      </a:lt2>
      <a:accent1>
        <a:srgbClr val="7B7B7B"/>
      </a:accent1>
      <a:accent2>
        <a:srgbClr val="C9C9C9"/>
      </a:accent2>
      <a:accent3>
        <a:srgbClr val="DBDBDB"/>
      </a:accent3>
      <a:accent4>
        <a:srgbClr val="EDEDED"/>
      </a:accent4>
      <a:accent5>
        <a:srgbClr val="8CC8FB"/>
      </a:accent5>
      <a:accent6>
        <a:srgbClr val="D1E9FD"/>
      </a:accent6>
      <a:hlink>
        <a:srgbClr val="002060"/>
      </a:hlink>
      <a:folHlink>
        <a:srgbClr val="7030A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4_Тема Office">
  <a:themeElements>
    <a:clrScheme name="Другая 1">
      <a:dk1>
        <a:srgbClr val="000000"/>
      </a:dk1>
      <a:lt1>
        <a:srgbClr val="FFFFFF"/>
      </a:lt1>
      <a:dk2>
        <a:srgbClr val="149658"/>
      </a:dk2>
      <a:lt2>
        <a:srgbClr val="E7E6E6"/>
      </a:lt2>
      <a:accent1>
        <a:srgbClr val="7B7B7B"/>
      </a:accent1>
      <a:accent2>
        <a:srgbClr val="C9C9C9"/>
      </a:accent2>
      <a:accent3>
        <a:srgbClr val="DBDBDB"/>
      </a:accent3>
      <a:accent4>
        <a:srgbClr val="EDEDED"/>
      </a:accent4>
      <a:accent5>
        <a:srgbClr val="8CC8FB"/>
      </a:accent5>
      <a:accent6>
        <a:srgbClr val="D1E9FD"/>
      </a:accent6>
      <a:hlink>
        <a:srgbClr val="002060"/>
      </a:hlink>
      <a:folHlink>
        <a:srgbClr val="7030A0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567</TotalTime>
  <Words>4864</Words>
  <Application>Microsoft Office PowerPoint</Application>
  <PresentationFormat>Широкоэкранный</PresentationFormat>
  <Paragraphs>738</Paragraphs>
  <Slides>28</Slides>
  <Notes>25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4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8</vt:i4>
      </vt:variant>
    </vt:vector>
  </HeadingPairs>
  <TitlesOfParts>
    <vt:vector size="47" baseType="lpstr">
      <vt:lpstr>Arial</vt:lpstr>
      <vt:lpstr>Calibri</vt:lpstr>
      <vt:lpstr>Calibri Light</vt:lpstr>
      <vt:lpstr>Courier New</vt:lpstr>
      <vt:lpstr>Formular</vt:lpstr>
      <vt:lpstr>FORMULAR-LIGHT</vt:lpstr>
      <vt:lpstr>Helvetica Neue</vt:lpstr>
      <vt:lpstr>KKDQGL+Tw Cen MT Condensed Extra Bold</vt:lpstr>
      <vt:lpstr>QKFBLV+Calibri Bold</vt:lpstr>
      <vt:lpstr>QOLAIL+Cascadia Mono Regular</vt:lpstr>
      <vt:lpstr>Symbol</vt:lpstr>
      <vt:lpstr>Times New Roman</vt:lpstr>
      <vt:lpstr>Wingdings</vt:lpstr>
      <vt:lpstr>YS Text</vt:lpstr>
      <vt:lpstr>Basic format</vt:lpstr>
      <vt:lpstr>2_Тема Office</vt:lpstr>
      <vt:lpstr>3_Тема Office</vt:lpstr>
      <vt:lpstr>4_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Тарифные планы</vt:lpstr>
      <vt:lpstr>Пакеты услуг</vt:lpstr>
      <vt:lpstr>Часто задаваемые вопросы и ответы на них</vt:lpstr>
      <vt:lpstr>Часто задаваемые вопросы и ответы на них</vt:lpstr>
      <vt:lpstr>Презентация PowerPoint</vt:lpstr>
      <vt:lpstr>Исходящие и входящие платежи в валюте</vt:lpstr>
      <vt:lpstr>Презентация PowerPoint</vt:lpstr>
      <vt:lpstr>Презентация PowerPoint</vt:lpstr>
      <vt:lpstr>Базовые комиссии по ВЭД</vt:lpstr>
      <vt:lpstr>Часто задаваемые вопросы и ответы на них</vt:lpstr>
      <vt:lpstr>Презентация PowerPoint</vt:lpstr>
      <vt:lpstr>Кредит «Бизнес Лайт»</vt:lpstr>
      <vt:lpstr>Кредит «Бизнес Экспресс»</vt:lpstr>
      <vt:lpstr>Кредитование в форме Овердрафта</vt:lpstr>
      <vt:lpstr>Кредит «Бизнес ипотека»</vt:lpstr>
      <vt:lpstr>Часто задаваемые вопросы и ответы на них</vt:lpstr>
      <vt:lpstr>Презентация PowerPoint</vt:lpstr>
      <vt:lpstr>Презентация PowerPoint</vt:lpstr>
      <vt:lpstr>Кредит «Бизнес Лайт»</vt:lpstr>
      <vt:lpstr>Кредитование в форме Овердрафта</vt:lpstr>
      <vt:lpstr>Кредит на исполнение контракта (для МСБ)</vt:lpstr>
      <vt:lpstr>Банковские гарантии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nastasiia Frolova</dc:creator>
  <cp:lastModifiedBy>Климова Наталья Юрьевна</cp:lastModifiedBy>
  <cp:revision>453</cp:revision>
  <cp:lastPrinted>2024-02-12T07:27:35Z</cp:lastPrinted>
  <dcterms:created xsi:type="dcterms:W3CDTF">2022-10-13T10:31:00Z</dcterms:created>
  <dcterms:modified xsi:type="dcterms:W3CDTF">2024-04-04T07:28:24Z</dcterms:modified>
</cp:coreProperties>
</file>